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86" r:id="rId3"/>
    <p:sldId id="280" r:id="rId4"/>
    <p:sldId id="290" r:id="rId5"/>
    <p:sldId id="289" r:id="rId6"/>
    <p:sldId id="294" r:id="rId7"/>
    <p:sldId id="295" r:id="rId8"/>
    <p:sldId id="296" r:id="rId9"/>
    <p:sldId id="297" r:id="rId10"/>
    <p:sldId id="298" r:id="rId11"/>
    <p:sldId id="28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8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4008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B6B"/>
    <a:srgbClr val="D9D9D9"/>
    <a:srgbClr val="280E32"/>
    <a:srgbClr val="556270"/>
    <a:srgbClr val="2E1437"/>
    <a:srgbClr val="948E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E4E31B-4786-4FF7-9E5F-E31A2922B1AF}" v="22" dt="2019-06-25T08:20:41.296"/>
    <p1510:client id="{474C0CB0-566F-44BB-8816-9F251409A4D7}" v="3" dt="2019-06-24T09:04:45.841"/>
    <p1510:client id="{938714A3-54F1-4AFC-A2A0-05BF56A0E6F4}" v="20" dt="2019-06-24T12:45:42.2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3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1596" y="1254"/>
      </p:cViewPr>
      <p:guideLst>
        <p:guide orient="horz" pos="696"/>
        <p:guide pos="3840"/>
        <p:guide pos="168"/>
        <p:guide pos="7512"/>
        <p:guide orient="horz" pos="4008"/>
        <p:guide orient="horz" pos="2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D564AC-8C04-43F5-B0D5-0B17C27E0E5B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A6E9B-EAC0-42DB-A7DB-C098814DC4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02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87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9EDB-71EC-4364-B899-B56C16D151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553911-3BCE-4DDC-8424-6B06FF964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10B89-5F19-4463-ACBF-5A59B129E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764F9-0E20-4ABD-AE78-1A6376993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28EF-4606-45C4-A466-54E5C32F4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26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3B1AE-8E01-4CF6-BF33-266D05137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4171E9-279A-44CA-83F8-239793B865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60DF3-65F4-4325-B68F-3319C559B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6CE690-5550-4C69-AE2E-518FD643B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6ADD0-6FD9-4AEF-BF93-762239A39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63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3633B5-0965-4B9F-8B2A-BA9E10C7C9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E309F1-6B7E-4632-81CA-D7EC3F38A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124-CADE-4E3B-A6E7-B25E5073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330A94-883D-4809-B5CD-60FB3280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3942E-4193-4484-B176-3A30F7ED1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92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2BFC978-B996-459D-BCF0-F22C2E413C01}"/>
              </a:ext>
            </a:extLst>
          </p:cNvPr>
          <p:cNvGrpSpPr/>
          <p:nvPr userDrawn="1"/>
        </p:nvGrpSpPr>
        <p:grpSpPr>
          <a:xfrm>
            <a:off x="-593721" y="3690907"/>
            <a:ext cx="3604881" cy="4440403"/>
            <a:chOff x="-593721" y="3690907"/>
            <a:chExt cx="3604881" cy="444040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553C576-F934-4166-AB17-344413522F1F}"/>
                </a:ext>
              </a:extLst>
            </p:cNvPr>
            <p:cNvSpPr/>
            <p:nvPr/>
          </p:nvSpPr>
          <p:spPr>
            <a:xfrm rot="18900000">
              <a:off x="-593721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5B5652C-1DC8-4D78-B762-3A80D5B57344}"/>
                </a:ext>
              </a:extLst>
            </p:cNvPr>
            <p:cNvSpPr/>
            <p:nvPr/>
          </p:nvSpPr>
          <p:spPr>
            <a:xfrm rot="18900000">
              <a:off x="-593720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DA7A6C2-4EEE-4AC8-9A1B-741C1DE2E446}"/>
                </a:ext>
              </a:extLst>
            </p:cNvPr>
            <p:cNvSpPr/>
            <p:nvPr/>
          </p:nvSpPr>
          <p:spPr>
            <a:xfrm rot="18900000">
              <a:off x="531546" y="3690907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E8859B-D620-4D3F-88BD-169E8E728135}"/>
                </a:ext>
              </a:extLst>
            </p:cNvPr>
            <p:cNvSpPr/>
            <p:nvPr/>
          </p:nvSpPr>
          <p:spPr>
            <a:xfrm rot="18900000">
              <a:off x="531547" y="5476576"/>
              <a:ext cx="1354347" cy="1354347"/>
            </a:xfrm>
            <a:prstGeom prst="roundRect">
              <a:avLst/>
            </a:prstGeom>
            <a:noFill/>
            <a:ln>
              <a:solidFill>
                <a:srgbClr val="1AA3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08C0260-EDCE-41B7-A5E8-932C42F5D4ED}"/>
                </a:ext>
              </a:extLst>
            </p:cNvPr>
            <p:cNvSpPr/>
            <p:nvPr/>
          </p:nvSpPr>
          <p:spPr>
            <a:xfrm rot="18900000">
              <a:off x="1656812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6FAD573-7540-407E-A530-DB6CA6A80BDC}"/>
                </a:ext>
              </a:extLst>
            </p:cNvPr>
            <p:cNvSpPr/>
            <p:nvPr/>
          </p:nvSpPr>
          <p:spPr>
            <a:xfrm rot="18900000">
              <a:off x="1656813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C9E3436-BF30-4145-A538-A38F2EF9D385}"/>
                </a:ext>
              </a:extLst>
            </p:cNvPr>
            <p:cNvSpPr/>
            <p:nvPr/>
          </p:nvSpPr>
          <p:spPr>
            <a:xfrm rot="18900000">
              <a:off x="123991" y="5961858"/>
              <a:ext cx="2169452" cy="2169452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F9B11AE-6FB6-4B87-8E89-E1D065DB0E34}"/>
              </a:ext>
            </a:extLst>
          </p:cNvPr>
          <p:cNvSpPr/>
          <p:nvPr userDrawn="1"/>
        </p:nvSpPr>
        <p:spPr>
          <a:xfrm>
            <a:off x="0" y="3429000"/>
            <a:ext cx="4432300" cy="3429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F56C0-0FED-4FC9-A8FD-8409CAAB40D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2EF540-DE6E-4F6A-A782-50F96103DA3E}"/>
              </a:ext>
            </a:extLst>
          </p:cNvPr>
          <p:cNvSpPr/>
          <p:nvPr userDrawn="1"/>
        </p:nvSpPr>
        <p:spPr>
          <a:xfrm>
            <a:off x="11747500" y="366740"/>
            <a:ext cx="444500" cy="444500"/>
          </a:xfrm>
          <a:prstGeom prst="rect">
            <a:avLst/>
          </a:prstGeom>
          <a:solidFill>
            <a:srgbClr val="F6A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73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000C-FC65-46E4-B365-8E7245F1D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9028A-40EC-4A2A-9587-F9196CEDF0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378938-3B43-4BD8-9B86-588F5985C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B7BF8-9AA5-48A4-A9D7-4366B05E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D3802-5EB8-4E8B-8AD0-2FD075A78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79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4C5CC-F85E-4997-AF07-BD70FABC5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501C4-31F4-4A4C-ABA2-4BD5A399EA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B9732-B20A-4118-A45C-52C4DE0D4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6E6101-1A57-46A5-8C07-7369B50A2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3DDFB-8758-4DD7-A559-F726FA025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092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4FC09-E94D-4DC0-994C-37AD5791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C78D5F-2263-4CC4-9EFB-D379A3374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16E6F9-B663-447A-A5C1-84F6C4E4E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2CFE7B1B-BD4C-4BB4-87EE-2541304459AB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347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AC8CEE-581D-45BE-ADF6-D8CFE140C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7AE28F-6A23-42BA-8C40-F0F2D5905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ABA364-086D-404F-A888-000736C48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1DD6419E-422B-42A1-8723-DD27E834A236}"/>
              </a:ext>
            </a:extLst>
          </p:cNvPr>
          <p:cNvSpPr/>
          <p:nvPr userDrawn="1"/>
        </p:nvSpPr>
        <p:spPr>
          <a:xfrm rot="1800000">
            <a:off x="-1102789" y="-1501715"/>
            <a:ext cx="3232961" cy="3232961"/>
          </a:xfrm>
          <a:prstGeom prst="frame">
            <a:avLst>
              <a:gd name="adj1" fmla="val 763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8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343A1-0FDF-4F14-A155-E0823B90B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4015D4-880B-44A2-8284-999B901DF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02496-5939-4261-9B5C-15A7C630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13D5F096-646B-43E9-BDA8-13CF312D7DB3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948E99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9B1DE806-4DC5-4AE8-9931-3CEA21C7660B}"/>
              </a:ext>
            </a:extLst>
          </p:cNvPr>
          <p:cNvSpPr/>
          <p:nvPr userDrawn="1"/>
        </p:nvSpPr>
        <p:spPr>
          <a:xfrm rot="1800000">
            <a:off x="-929780" y="-2147393"/>
            <a:ext cx="4178300" cy="4178300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FF6B6B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356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70B3EA-DFB8-4822-9B1C-9F57F2757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CCAE47-3453-43A5-BAD3-6922C14F9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86C5A-9763-499E-B37E-C11488BCC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77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91DFB-1A1C-4B17-8A96-6EA4E357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8101B-01D9-4BD0-9398-A5AE396DB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847598-8721-4632-904B-02368FF50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C3ABA8-B095-4C06-A97D-A97EFC2F9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303D22-AE1D-447C-A704-7BC8A6DBF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4C71C9-58FB-4338-84FA-A2ED7A214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7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E198-19EF-4711-95A3-036E589B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90B0D2-238A-4087-8297-A3BD3C6E26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DE49F-D3C1-417C-AD18-217FF0ED2A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5ED9D-5477-47D1-BFB1-3CB3A13A2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35439-607F-4A73-8B10-0506B19C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13414C-775E-45F2-980A-92F808AF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264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179D2B-7BC4-42F7-802C-B8C1935FC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5949B-811B-4575-8007-ECF440512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77501-9B17-4E7B-9DE0-EEB1451415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DFA0F7-84FD-46DF-989E-91FBE20BD392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C4CD1-0889-4656-A939-7ED240FB1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093DA2-D9BC-4E23-9FE6-682F83C7C9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640208"/>
            <a:ext cx="7086600" cy="135421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WW</a:t>
            </a:r>
            <a:endParaRPr lang="en-US" sz="88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AC6838-8217-438C-BD16-1A8C2AA1D586}"/>
              </a:ext>
            </a:extLst>
          </p:cNvPr>
          <p:cNvSpPr txBox="1"/>
          <p:nvPr/>
        </p:nvSpPr>
        <p:spPr>
          <a:xfrm>
            <a:off x="2552700" y="2371732"/>
            <a:ext cx="70866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ko-KR" err="1">
                <a:latin typeface="Malgun Gothic"/>
                <a:ea typeface="바탕"/>
              </a:rPr>
              <a:t>당신이</a:t>
            </a:r>
            <a:r>
              <a:rPr lang="en-US" altLang="ko-KR" dirty="0">
                <a:latin typeface="Malgun Gothic"/>
                <a:ea typeface="바탕"/>
              </a:rPr>
              <a:t> </a:t>
            </a:r>
            <a:r>
              <a:rPr lang="en-US" altLang="ko-KR" err="1">
                <a:latin typeface="Malgun Gothic"/>
                <a:ea typeface="바탕"/>
              </a:rPr>
              <a:t>원하는</a:t>
            </a:r>
            <a:r>
              <a:rPr lang="en-US" altLang="ko-KR" dirty="0">
                <a:latin typeface="Malgun Gothic"/>
                <a:ea typeface="바탕"/>
              </a:rPr>
              <a:t> </a:t>
            </a:r>
            <a:r>
              <a:rPr lang="en-US" altLang="ko-KR" err="1">
                <a:latin typeface="Malgun Gothic"/>
                <a:ea typeface="바탕"/>
              </a:rPr>
              <a:t>강의를</a:t>
            </a:r>
            <a:r>
              <a:rPr lang="en-US" altLang="ko-KR" dirty="0">
                <a:latin typeface="Malgun Gothic"/>
                <a:ea typeface="바탕"/>
              </a:rPr>
              <a:t> </a:t>
            </a:r>
            <a:r>
              <a:rPr lang="en-US" altLang="ko-KR" err="1">
                <a:latin typeface="Malgun Gothic"/>
                <a:ea typeface="바탕"/>
              </a:rPr>
              <a:t>검색하세요</a:t>
            </a:r>
            <a:endParaRPr lang="en-US" altLang="ko-KR">
              <a:latin typeface="Malgun Gothic"/>
              <a:ea typeface="바탕"/>
            </a:endParaRPr>
          </a:p>
        </p:txBody>
      </p:sp>
      <p:grpSp>
        <p:nvGrpSpPr>
          <p:cNvPr id="1033" name="Group 1032">
            <a:extLst>
              <a:ext uri="{FF2B5EF4-FFF2-40B4-BE49-F238E27FC236}">
                <a16:creationId xmlns:a16="http://schemas.microsoft.com/office/drawing/2014/main" id="{1F054A9A-F76D-4823-94F6-75E3973A03A8}"/>
              </a:ext>
            </a:extLst>
          </p:cNvPr>
          <p:cNvGrpSpPr/>
          <p:nvPr/>
        </p:nvGrpSpPr>
        <p:grpSpPr>
          <a:xfrm>
            <a:off x="8375650" y="617538"/>
            <a:ext cx="3175000" cy="5622925"/>
            <a:chOff x="8375650" y="617538"/>
            <a:chExt cx="3175000" cy="5622925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0B48E3A-142F-4A91-8477-E09A4EDAD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53609FF-1ED7-41E0-B709-2C1DDBD0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4228F784-5520-4968-9090-573718456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6D72753-6482-4774-85D1-4EDB9463A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30637A9D-2398-48C1-B65E-D4BEC60D3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310CAF0D-D34C-4425-BB44-2CD2DBCFD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5BA44F-16C1-4CE8-8FDA-FF890E43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A8FB5C1-F5C3-4052-B152-E23A2DE5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043D25C3-1656-4C47-AB76-DDC1ABF87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5F34EBB7-B55C-4297-9EA9-B7E5CFE3A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3265ADD-AF75-4841-AD2E-81074022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5AFFCE00-7CC7-4837-AC35-BEA61438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BFDB55CD-8D49-4F2C-B02B-CA6412D63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043" name="Picture 19">
              <a:extLst>
                <a:ext uri="{FF2B5EF4-FFF2-40B4-BE49-F238E27FC236}">
                  <a16:creationId xmlns:a16="http://schemas.microsoft.com/office/drawing/2014/main" id="{2B27F6C3-E051-4DC6-A739-E33BF553A2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F5536D6A-EB73-4607-8E8C-15C40FDC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9E484EFE-162C-457E-9996-A3D8A0D18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>
              <a:extLst>
                <a:ext uri="{FF2B5EF4-FFF2-40B4-BE49-F238E27FC236}">
                  <a16:creationId xmlns:a16="http://schemas.microsoft.com/office/drawing/2014/main" id="{FEFE037D-05ED-4BFC-9A5F-17AE3FD64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CE6993E8-DD07-48DF-8598-1671DE0C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162AFDD8-D0B1-47C8-BB69-9CF96F1F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95068294-3B71-4D76-B45B-2AC865811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A8EB044D-A157-4A25-B98D-3B4138A21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E29844B1-3701-4CC2-9DAC-DB41191AF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0386328-8EEE-4612-B68C-E1E108645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989913C6-4643-4DE6-A2D8-158096CAF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F91042C1-CD6F-4766-BE54-2193AEF38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6B8F5A1E-6402-4D38-85BE-99C7CF4D2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A1163717-9016-4369-A5ED-A43102C6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525649FE-91AC-4773-8027-5EF4B8FB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B62A8E93-E7D6-4BEB-A0AE-1C14BC715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0F3DCE05-0CE3-42E3-8972-636773974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2E11F748-6613-44AA-A01B-43C478EA0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9">
              <a:extLst>
                <a:ext uri="{FF2B5EF4-FFF2-40B4-BE49-F238E27FC236}">
                  <a16:creationId xmlns:a16="http://schemas.microsoft.com/office/drawing/2014/main" id="{D2D19466-3DAB-4FAC-A3D4-3D472D7AB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0">
              <a:extLst>
                <a:ext uri="{FF2B5EF4-FFF2-40B4-BE49-F238E27FC236}">
                  <a16:creationId xmlns:a16="http://schemas.microsoft.com/office/drawing/2014/main" id="{56F72516-5FF2-4B56-A44B-CDBF9F783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1">
              <a:extLst>
                <a:ext uri="{FF2B5EF4-FFF2-40B4-BE49-F238E27FC236}">
                  <a16:creationId xmlns:a16="http://schemas.microsoft.com/office/drawing/2014/main" id="{B17D0602-3501-4E99-86B9-3003D21A2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42">
              <a:extLst>
                <a:ext uri="{FF2B5EF4-FFF2-40B4-BE49-F238E27FC236}">
                  <a16:creationId xmlns:a16="http://schemas.microsoft.com/office/drawing/2014/main" id="{C7B02D9F-7899-44C1-8031-7ECF33B29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09CDC6EB-41D7-48C2-865F-F883B496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852AD261-4E6D-4083-AB0B-E9CDEF49C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Freeform 45">
              <a:extLst>
                <a:ext uri="{FF2B5EF4-FFF2-40B4-BE49-F238E27FC236}">
                  <a16:creationId xmlns:a16="http://schemas.microsoft.com/office/drawing/2014/main" id="{9C902E33-8932-4431-A094-08DC6636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Freeform 46">
              <a:extLst>
                <a:ext uri="{FF2B5EF4-FFF2-40B4-BE49-F238E27FC236}">
                  <a16:creationId xmlns:a16="http://schemas.microsoft.com/office/drawing/2014/main" id="{D31A86B4-606D-4B92-A5B8-A21BEC632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Freeform 47">
              <a:extLst>
                <a:ext uri="{FF2B5EF4-FFF2-40B4-BE49-F238E27FC236}">
                  <a16:creationId xmlns:a16="http://schemas.microsoft.com/office/drawing/2014/main" id="{BAE48FD1-C25D-4AB8-ACEA-091B061C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Freeform 48">
              <a:extLst>
                <a:ext uri="{FF2B5EF4-FFF2-40B4-BE49-F238E27FC236}">
                  <a16:creationId xmlns:a16="http://schemas.microsoft.com/office/drawing/2014/main" id="{BEB0D6EF-4102-4084-95E5-08DEADBDC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Freeform 49">
              <a:extLst>
                <a:ext uri="{FF2B5EF4-FFF2-40B4-BE49-F238E27FC236}">
                  <a16:creationId xmlns:a16="http://schemas.microsoft.com/office/drawing/2014/main" id="{EFA7358D-A210-454D-88BB-89C4F7A0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Freeform 50">
              <a:extLst>
                <a:ext uri="{FF2B5EF4-FFF2-40B4-BE49-F238E27FC236}">
                  <a16:creationId xmlns:a16="http://schemas.microsoft.com/office/drawing/2014/main" id="{513C2B05-7975-48A1-8B81-DFAF0F05C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Freeform 51">
              <a:extLst>
                <a:ext uri="{FF2B5EF4-FFF2-40B4-BE49-F238E27FC236}">
                  <a16:creationId xmlns:a16="http://schemas.microsoft.com/office/drawing/2014/main" id="{132D0BD0-1FC8-44A9-9420-51D51653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Freeform 52">
              <a:extLst>
                <a:ext uri="{FF2B5EF4-FFF2-40B4-BE49-F238E27FC236}">
                  <a16:creationId xmlns:a16="http://schemas.microsoft.com/office/drawing/2014/main" id="{BB86F6B9-B779-4F69-953E-4498149C0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Freeform 53">
              <a:extLst>
                <a:ext uri="{FF2B5EF4-FFF2-40B4-BE49-F238E27FC236}">
                  <a16:creationId xmlns:a16="http://schemas.microsoft.com/office/drawing/2014/main" id="{121205E1-A665-4BB9-BAE2-3C8679B1D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1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F702F4F-F441-4CA3-A848-97C1B701CE0B}"/>
              </a:ext>
            </a:extLst>
          </p:cNvPr>
          <p:cNvSpPr/>
          <p:nvPr/>
        </p:nvSpPr>
        <p:spPr>
          <a:xfrm>
            <a:off x="3815028" y="2273010"/>
            <a:ext cx="4642183" cy="44115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770226A7-6B49-4F71-91CE-0863642E89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3267" y="2344529"/>
            <a:ext cx="335723" cy="31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423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11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D3C4081-D4CA-4792-9038-E952560F34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096" b="-252"/>
          <a:stretch/>
        </p:blipFill>
        <p:spPr>
          <a:xfrm>
            <a:off x="1455530" y="1546280"/>
            <a:ext cx="7966843" cy="440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117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701763"/>
            <a:ext cx="7086600" cy="123110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THANK YOU</a:t>
            </a:r>
            <a:endParaRPr lang="en-US" sz="8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8051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81">
            <a:extLst>
              <a:ext uri="{FF2B5EF4-FFF2-40B4-BE49-F238E27FC236}">
                <a16:creationId xmlns:a16="http://schemas.microsoft.com/office/drawing/2014/main" id="{692C792F-CC81-4227-AA4D-1B1F9CA91FB8}"/>
              </a:ext>
            </a:extLst>
          </p:cNvPr>
          <p:cNvSpPr/>
          <p:nvPr/>
        </p:nvSpPr>
        <p:spPr>
          <a:xfrm>
            <a:off x="6955970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EC2FEF2-B841-4B4C-827D-448CC96CAC56}"/>
              </a:ext>
            </a:extLst>
          </p:cNvPr>
          <p:cNvSpPr/>
          <p:nvPr/>
        </p:nvSpPr>
        <p:spPr>
          <a:xfrm>
            <a:off x="6955970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C757359-D767-4BCB-A1E0-F77640856F3C}"/>
              </a:ext>
            </a:extLst>
          </p:cNvPr>
          <p:cNvSpPr/>
          <p:nvPr/>
        </p:nvSpPr>
        <p:spPr>
          <a:xfrm>
            <a:off x="4413251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D3C3EE-7FBA-4B5A-B188-83E45DF333F1}"/>
              </a:ext>
            </a:extLst>
          </p:cNvPr>
          <p:cNvSpPr/>
          <p:nvPr/>
        </p:nvSpPr>
        <p:spPr>
          <a:xfrm>
            <a:off x="759913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5BF5076-0554-4E6D-B18D-DDC48389B7F6}"/>
              </a:ext>
            </a:extLst>
          </p:cNvPr>
          <p:cNvSpPr/>
          <p:nvPr/>
        </p:nvSpPr>
        <p:spPr>
          <a:xfrm>
            <a:off x="377008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A2E6F60-ABE7-406C-AFB5-6673E55C1242}"/>
              </a:ext>
            </a:extLst>
          </p:cNvPr>
          <p:cNvSpPr/>
          <p:nvPr/>
        </p:nvSpPr>
        <p:spPr>
          <a:xfrm>
            <a:off x="759913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65A1CF35-DD44-4C30-8F42-07B947C079DE}"/>
              </a:ext>
            </a:extLst>
          </p:cNvPr>
          <p:cNvSpPr/>
          <p:nvPr/>
        </p:nvSpPr>
        <p:spPr>
          <a:xfrm>
            <a:off x="377008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C3BB5C5-3E72-486D-BD22-BD3D717C46CD}"/>
              </a:ext>
            </a:extLst>
          </p:cNvPr>
          <p:cNvSpPr/>
          <p:nvPr/>
        </p:nvSpPr>
        <p:spPr>
          <a:xfrm>
            <a:off x="4413251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: Top Corners Rounded 67">
            <a:extLst>
              <a:ext uri="{FF2B5EF4-FFF2-40B4-BE49-F238E27FC236}">
                <a16:creationId xmlns:a16="http://schemas.microsoft.com/office/drawing/2014/main" id="{0D85C21C-2390-45F2-9177-A06700566D38}"/>
              </a:ext>
            </a:extLst>
          </p:cNvPr>
          <p:cNvSpPr/>
          <p:nvPr/>
        </p:nvSpPr>
        <p:spPr>
          <a:xfrm>
            <a:off x="968376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4A8C99B-B8E2-4493-9548-F990A45B775F}"/>
              </a:ext>
            </a:extLst>
          </p:cNvPr>
          <p:cNvSpPr/>
          <p:nvPr/>
        </p:nvSpPr>
        <p:spPr>
          <a:xfrm>
            <a:off x="6708775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8880C7-EB40-44E0-8E8F-4C9309F5F632}"/>
              </a:ext>
            </a:extLst>
          </p:cNvPr>
          <p:cNvSpPr/>
          <p:nvPr/>
        </p:nvSpPr>
        <p:spPr>
          <a:xfrm>
            <a:off x="469276" y="1536700"/>
            <a:ext cx="11253448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Date Placeholder 62">
            <a:extLst>
              <a:ext uri="{FF2B5EF4-FFF2-40B4-BE49-F238E27FC236}">
                <a16:creationId xmlns:a16="http://schemas.microsoft.com/office/drawing/2014/main" id="{77E8CDB2-0291-409B-A560-ECC0BAD56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1EDB9-283E-45C0-AC04-1EF28884500D}" type="datetime1">
              <a:rPr lang="en-US" smtClean="0"/>
              <a:t>6/25/2019</a:t>
            </a:fld>
            <a:endParaRPr lang="en-US" dirty="0"/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959A9-7089-4810-944F-2B841F6DD486}"/>
              </a:ext>
            </a:extLst>
          </p:cNvPr>
          <p:cNvSpPr/>
          <p:nvPr/>
        </p:nvSpPr>
        <p:spPr>
          <a:xfrm>
            <a:off x="1030287" y="1438275"/>
            <a:ext cx="4384676" cy="561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>
                <a:ea typeface="바탕"/>
              </a:rPr>
              <a:t>WWW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99649C-086F-4537-8C72-A29547D194D9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Malgun Gothic"/>
                <a:ea typeface="Malgun Gothic"/>
              </a:rPr>
              <a:t>팀원</a:t>
            </a:r>
            <a:endParaRPr lang="en-US" sz="2000">
              <a:latin typeface="Malgun Gothic"/>
              <a:ea typeface="Malgun Gothic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A1D01-2D41-4354-8B59-E03990FCFB3C}"/>
              </a:ext>
            </a:extLst>
          </p:cNvPr>
          <p:cNvSpPr/>
          <p:nvPr/>
        </p:nvSpPr>
        <p:spPr>
          <a:xfrm>
            <a:off x="4181475" y="2345871"/>
            <a:ext cx="3829050" cy="3829050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2DAC910-A0C7-4BEF-927B-B096BB7E759E}"/>
              </a:ext>
            </a:extLst>
          </p:cNvPr>
          <p:cNvSpPr/>
          <p:nvPr/>
        </p:nvSpPr>
        <p:spPr>
          <a:xfrm>
            <a:off x="3890282" y="3511549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6D83250-FEF7-47D0-825E-8D8ACAE99529}"/>
              </a:ext>
            </a:extLst>
          </p:cNvPr>
          <p:cNvSpPr/>
          <p:nvPr/>
        </p:nvSpPr>
        <p:spPr>
          <a:xfrm>
            <a:off x="7719332" y="3511549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C4C531-AE90-4026-B0D7-22E44BD18CFF}"/>
              </a:ext>
            </a:extLst>
          </p:cNvPr>
          <p:cNvSpPr/>
          <p:nvPr/>
        </p:nvSpPr>
        <p:spPr>
          <a:xfrm>
            <a:off x="3890282" y="4426856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D30738-579A-4967-BED8-B041FD59974D}"/>
              </a:ext>
            </a:extLst>
          </p:cNvPr>
          <p:cNvSpPr/>
          <p:nvPr/>
        </p:nvSpPr>
        <p:spPr>
          <a:xfrm>
            <a:off x="7719332" y="4426856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ACDCBC8-DD53-402A-8378-3C5810D772BF}"/>
              </a:ext>
            </a:extLst>
          </p:cNvPr>
          <p:cNvSpPr/>
          <p:nvPr/>
        </p:nvSpPr>
        <p:spPr>
          <a:xfrm>
            <a:off x="4533448" y="2596242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54C43C7-1891-472F-A1DB-C02BFF33450D}"/>
              </a:ext>
            </a:extLst>
          </p:cNvPr>
          <p:cNvSpPr/>
          <p:nvPr/>
        </p:nvSpPr>
        <p:spPr>
          <a:xfrm>
            <a:off x="7076167" y="2596242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CEF9737-12D7-4AD5-B110-2F5BD73D8990}"/>
              </a:ext>
            </a:extLst>
          </p:cNvPr>
          <p:cNvSpPr/>
          <p:nvPr/>
        </p:nvSpPr>
        <p:spPr>
          <a:xfrm>
            <a:off x="4533448" y="5342164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E3703C8-CA7E-4903-9263-F18ACF46C135}"/>
              </a:ext>
            </a:extLst>
          </p:cNvPr>
          <p:cNvSpPr/>
          <p:nvPr/>
        </p:nvSpPr>
        <p:spPr>
          <a:xfrm>
            <a:off x="7076167" y="5342164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1675">
            <a:extLst>
              <a:ext uri="{FF2B5EF4-FFF2-40B4-BE49-F238E27FC236}">
                <a16:creationId xmlns:a16="http://schemas.microsoft.com/office/drawing/2014/main" id="{B0C1D16D-FFF6-4671-B2D0-5461FA31D2E3}"/>
              </a:ext>
            </a:extLst>
          </p:cNvPr>
          <p:cNvSpPr>
            <a:spLocks/>
          </p:cNvSpPr>
          <p:nvPr/>
        </p:nvSpPr>
        <p:spPr bwMode="auto">
          <a:xfrm>
            <a:off x="4686167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675">
            <a:extLst>
              <a:ext uri="{FF2B5EF4-FFF2-40B4-BE49-F238E27FC236}">
                <a16:creationId xmlns:a16="http://schemas.microsoft.com/office/drawing/2014/main" id="{CEF275CC-0E80-4CE9-867D-8830D40B9226}"/>
              </a:ext>
            </a:extLst>
          </p:cNvPr>
          <p:cNvSpPr>
            <a:spLocks/>
          </p:cNvSpPr>
          <p:nvPr/>
        </p:nvSpPr>
        <p:spPr bwMode="auto">
          <a:xfrm>
            <a:off x="7228885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675">
            <a:extLst>
              <a:ext uri="{FF2B5EF4-FFF2-40B4-BE49-F238E27FC236}">
                <a16:creationId xmlns:a16="http://schemas.microsoft.com/office/drawing/2014/main" id="{C933CD35-ECE8-4376-93FF-FA924EFBD993}"/>
              </a:ext>
            </a:extLst>
          </p:cNvPr>
          <p:cNvSpPr>
            <a:spLocks/>
          </p:cNvSpPr>
          <p:nvPr/>
        </p:nvSpPr>
        <p:spPr bwMode="auto">
          <a:xfrm>
            <a:off x="4686167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1675">
            <a:extLst>
              <a:ext uri="{FF2B5EF4-FFF2-40B4-BE49-F238E27FC236}">
                <a16:creationId xmlns:a16="http://schemas.microsoft.com/office/drawing/2014/main" id="{9A535819-1C32-416C-AB1F-A17055BBDE4E}"/>
              </a:ext>
            </a:extLst>
          </p:cNvPr>
          <p:cNvSpPr>
            <a:spLocks/>
          </p:cNvSpPr>
          <p:nvPr/>
        </p:nvSpPr>
        <p:spPr bwMode="auto">
          <a:xfrm>
            <a:off x="7228885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675">
            <a:extLst>
              <a:ext uri="{FF2B5EF4-FFF2-40B4-BE49-F238E27FC236}">
                <a16:creationId xmlns:a16="http://schemas.microsoft.com/office/drawing/2014/main" id="{B8D649AD-E83C-42A6-A04B-68A40523C8F6}"/>
              </a:ext>
            </a:extLst>
          </p:cNvPr>
          <p:cNvSpPr>
            <a:spLocks/>
          </p:cNvSpPr>
          <p:nvPr/>
        </p:nvSpPr>
        <p:spPr bwMode="auto">
          <a:xfrm>
            <a:off x="404300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675">
            <a:extLst>
              <a:ext uri="{FF2B5EF4-FFF2-40B4-BE49-F238E27FC236}">
                <a16:creationId xmlns:a16="http://schemas.microsoft.com/office/drawing/2014/main" id="{14085482-209F-4FAD-9EB6-CD20F5484E57}"/>
              </a:ext>
            </a:extLst>
          </p:cNvPr>
          <p:cNvSpPr>
            <a:spLocks/>
          </p:cNvSpPr>
          <p:nvPr/>
        </p:nvSpPr>
        <p:spPr bwMode="auto">
          <a:xfrm>
            <a:off x="787205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675">
            <a:extLst>
              <a:ext uri="{FF2B5EF4-FFF2-40B4-BE49-F238E27FC236}">
                <a16:creationId xmlns:a16="http://schemas.microsoft.com/office/drawing/2014/main" id="{92409E74-500D-437B-A07D-A9D471F80838}"/>
              </a:ext>
            </a:extLst>
          </p:cNvPr>
          <p:cNvSpPr>
            <a:spLocks/>
          </p:cNvSpPr>
          <p:nvPr/>
        </p:nvSpPr>
        <p:spPr bwMode="auto">
          <a:xfrm>
            <a:off x="404300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675">
            <a:extLst>
              <a:ext uri="{FF2B5EF4-FFF2-40B4-BE49-F238E27FC236}">
                <a16:creationId xmlns:a16="http://schemas.microsoft.com/office/drawing/2014/main" id="{7960689A-4C5B-430D-A0A8-638E345CF578}"/>
              </a:ext>
            </a:extLst>
          </p:cNvPr>
          <p:cNvSpPr>
            <a:spLocks/>
          </p:cNvSpPr>
          <p:nvPr/>
        </p:nvSpPr>
        <p:spPr bwMode="auto">
          <a:xfrm>
            <a:off x="787205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FB275C-D847-4540-9E59-A238222D13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6804" y="2681437"/>
            <a:ext cx="3676331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oman </a:t>
            </a:r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ill</a:t>
            </a:r>
            <a:r>
              <a:rPr lang="ko-KR" altLang="en-US" sz="2000" dirty="0">
                <a:solidFill>
                  <a:schemeClr val="accent4"/>
                </a:solidFill>
                <a:latin typeface="TW Cen MT"/>
                <a:ea typeface="Malgun Gothic"/>
              </a:rPr>
              <a:t> </a:t>
            </a:r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in</a:t>
            </a:r>
            <a:endParaRPr lang="en-US" altLang="ko-KR" sz="2000">
              <a:solidFill>
                <a:schemeClr val="accent4"/>
              </a:solidFill>
              <a:latin typeface="TW Cen MT"/>
              <a:ea typeface="바탕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6484801-8D2B-4A81-B21C-021402E40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16804" y="5340969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  <a:cs typeface="+mn-lt"/>
              </a:rPr>
              <a:t>여성팀이 이길 것이라는 포부를 담았습니다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.</a:t>
            </a:r>
            <a:endParaRPr lang="ko-KR" altLang="en-US" sz="160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5DF2775-EF9F-45E0-8871-D568BEFE0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98866" y="2712215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>
                <a:latin typeface="Malgun Gothic"/>
                <a:ea typeface="Malgun Gothic"/>
              </a:rPr>
              <a:t>김수민</a:t>
            </a:r>
            <a:endParaRPr lang="en-US" sz="1600" b="1" dirty="0">
              <a:latin typeface="Malgun Gothic"/>
              <a:ea typeface="Malgun Gothic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893CD47-2FC0-4EE1-AF48-C0F283CEF20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98866" y="5464080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>
                <a:latin typeface="Malgun Gothic"/>
                <a:ea typeface="Malgun Gothic"/>
              </a:rPr>
              <a:t>최수진</a:t>
            </a:r>
            <a:endParaRPr lang="en-US" sz="1600" b="1" dirty="0">
              <a:latin typeface="Malgun Gothic"/>
              <a:ea typeface="Malgun Gothic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B216AA6-1EB8-43D8-BF71-30CA15FA055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558373" y="4548772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err="1">
                <a:solidFill>
                  <a:schemeClr val="tx2">
                    <a:lumMod val="50000"/>
                  </a:schemeClr>
                </a:solidFill>
                <a:latin typeface="Malgun Gothic"/>
                <a:ea typeface="Malgun Gothic"/>
              </a:rPr>
              <a:t>손규리</a:t>
            </a:r>
            <a:r>
              <a:rPr lang="ko-KR" altLang="en-US" sz="1600" b="1" dirty="0">
                <a:solidFill>
                  <a:schemeClr val="tx2">
                    <a:lumMod val="50000"/>
                  </a:schemeClr>
                </a:solidFill>
                <a:latin typeface="Malgun Gothic"/>
                <a:ea typeface="Malgun Gothic"/>
              </a:rPr>
              <a:t>(PM)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011631-B998-4204-A69C-ABFC931A6F8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33064" y="3630825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전원 여성으로만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</a:rPr>
              <a:t> </a:t>
            </a:r>
            <a:r>
              <a:rPr 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구성된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</a:rPr>
              <a:t> </a:t>
            </a:r>
            <a:r>
              <a:rPr 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팀</a:t>
            </a:r>
            <a:endParaRPr lang="ko-KR" sz="1600" dirty="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2FFEF9-629F-46B2-84AE-C3F2458A510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3064" y="4425662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필요한 정보를 검색할 수 </a:t>
            </a: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있는 시스템이라는 의미와 함께</a:t>
            </a:r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3424BE9-692B-4E36-BC22-ED00297763ED}"/>
              </a:ext>
            </a:extLst>
          </p:cNvPr>
          <p:cNvGrpSpPr/>
          <p:nvPr/>
        </p:nvGrpSpPr>
        <p:grpSpPr>
          <a:xfrm>
            <a:off x="4962743" y="3592513"/>
            <a:ext cx="2266515" cy="1335768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7D2EA86A-0058-471F-9A51-516AE0A86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5954CA66-ACB5-4032-B2A5-67D4E397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1797C320-ECEE-41AC-A504-A284D1D0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">
              <a:extLst>
                <a:ext uri="{FF2B5EF4-FFF2-40B4-BE49-F238E27FC236}">
                  <a16:creationId xmlns:a16="http://schemas.microsoft.com/office/drawing/2014/main" id="{0ECEAFDD-5331-4374-B30C-C3B1B8C9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0" y="2241551"/>
              <a:ext cx="779462" cy="3062288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">
              <a:extLst>
                <a:ext uri="{FF2B5EF4-FFF2-40B4-BE49-F238E27FC236}">
                  <a16:creationId xmlns:a16="http://schemas.microsoft.com/office/drawing/2014/main" id="{30C64509-D547-49CF-89CE-0FBE7241E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BD2A621-4CE5-46D5-9AAD-BF838AD9D9F5}"/>
              </a:ext>
            </a:extLst>
          </p:cNvPr>
          <p:cNvGrpSpPr/>
          <p:nvPr/>
        </p:nvGrpSpPr>
        <p:grpSpPr>
          <a:xfrm>
            <a:off x="1411566" y="1575593"/>
            <a:ext cx="287338" cy="287338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11" name="Freeform 372">
              <a:extLst>
                <a:ext uri="{FF2B5EF4-FFF2-40B4-BE49-F238E27FC236}">
                  <a16:creationId xmlns:a16="http://schemas.microsoft.com/office/drawing/2014/main" id="{C61DF243-2E7B-46B5-ACDB-09736951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73">
              <a:extLst>
                <a:ext uri="{FF2B5EF4-FFF2-40B4-BE49-F238E27FC236}">
                  <a16:creationId xmlns:a16="http://schemas.microsoft.com/office/drawing/2014/main" id="{83AE146E-58BF-4C49-96F7-61AB1E862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80A6856-8273-4FF0-B7FC-2F1531001570}"/>
              </a:ext>
            </a:extLst>
          </p:cNvPr>
          <p:cNvGrpSpPr/>
          <p:nvPr/>
        </p:nvGrpSpPr>
        <p:grpSpPr>
          <a:xfrm>
            <a:off x="10504378" y="1575593"/>
            <a:ext cx="285750" cy="287338"/>
            <a:chOff x="3746500" y="1344613"/>
            <a:chExt cx="285750" cy="287338"/>
          </a:xfrm>
          <a:solidFill>
            <a:schemeClr val="bg1"/>
          </a:solidFill>
        </p:grpSpPr>
        <p:sp>
          <p:nvSpPr>
            <p:cNvPr id="115" name="Freeform 497">
              <a:extLst>
                <a:ext uri="{FF2B5EF4-FFF2-40B4-BE49-F238E27FC236}">
                  <a16:creationId xmlns:a16="http://schemas.microsoft.com/office/drawing/2014/main" id="{8014AE55-F1E3-45D8-ABE4-739CB70EB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498">
              <a:extLst>
                <a:ext uri="{FF2B5EF4-FFF2-40B4-BE49-F238E27FC236}">
                  <a16:creationId xmlns:a16="http://schemas.microsoft.com/office/drawing/2014/main" id="{CEAE500C-7296-4DAD-9646-2E31922B6E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499">
              <a:extLst>
                <a:ext uri="{FF2B5EF4-FFF2-40B4-BE49-F238E27FC236}">
                  <a16:creationId xmlns:a16="http://schemas.microsoft.com/office/drawing/2014/main" id="{94410126-F367-46A7-BC45-C311D5D49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500">
              <a:extLst>
                <a:ext uri="{FF2B5EF4-FFF2-40B4-BE49-F238E27FC236}">
                  <a16:creationId xmlns:a16="http://schemas.microsoft.com/office/drawing/2014/main" id="{A2C97ACB-97A3-414B-A771-882A7E3B7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501">
              <a:extLst>
                <a:ext uri="{FF2B5EF4-FFF2-40B4-BE49-F238E27FC236}">
                  <a16:creationId xmlns:a16="http://schemas.microsoft.com/office/drawing/2014/main" id="{F842D659-7E61-4A35-AD18-361288C73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02">
              <a:extLst>
                <a:ext uri="{FF2B5EF4-FFF2-40B4-BE49-F238E27FC236}">
                  <a16:creationId xmlns:a16="http://schemas.microsoft.com/office/drawing/2014/main" id="{CBEC1CFB-92D9-4210-9441-8E92E0CAF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03">
              <a:extLst>
                <a:ext uri="{FF2B5EF4-FFF2-40B4-BE49-F238E27FC236}">
                  <a16:creationId xmlns:a16="http://schemas.microsoft.com/office/drawing/2014/main" id="{68F28E05-ACA4-468E-BDBB-A79F95BCC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504">
              <a:extLst>
                <a:ext uri="{FF2B5EF4-FFF2-40B4-BE49-F238E27FC236}">
                  <a16:creationId xmlns:a16="http://schemas.microsoft.com/office/drawing/2014/main" id="{4C38AC20-690A-4BE6-98EA-20CEA7F57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00185671-FEA1-4FC4-A1DE-33B790A41E68}"/>
              </a:ext>
            </a:extLst>
          </p:cNvPr>
          <p:cNvGrpSpPr/>
          <p:nvPr/>
        </p:nvGrpSpPr>
        <p:grpSpPr>
          <a:xfrm>
            <a:off x="7142901" y="1575593"/>
            <a:ext cx="285750" cy="287338"/>
            <a:chOff x="3746500" y="1344613"/>
            <a:chExt cx="285750" cy="287338"/>
          </a:xfrm>
          <a:solidFill>
            <a:schemeClr val="bg1"/>
          </a:solidFill>
        </p:grpSpPr>
        <p:sp>
          <p:nvSpPr>
            <p:cNvPr id="162" name="Freeform 497">
              <a:extLst>
                <a:ext uri="{FF2B5EF4-FFF2-40B4-BE49-F238E27FC236}">
                  <a16:creationId xmlns:a16="http://schemas.microsoft.com/office/drawing/2014/main" id="{4CF035A6-A429-424B-9898-1FEF138B5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98">
              <a:extLst>
                <a:ext uri="{FF2B5EF4-FFF2-40B4-BE49-F238E27FC236}">
                  <a16:creationId xmlns:a16="http://schemas.microsoft.com/office/drawing/2014/main" id="{73112014-C6B0-4B37-8E75-2870566426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99">
              <a:extLst>
                <a:ext uri="{FF2B5EF4-FFF2-40B4-BE49-F238E27FC236}">
                  <a16:creationId xmlns:a16="http://schemas.microsoft.com/office/drawing/2014/main" id="{AE2BAB45-1846-47D0-AD02-4B82F4A43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500">
              <a:extLst>
                <a:ext uri="{FF2B5EF4-FFF2-40B4-BE49-F238E27FC236}">
                  <a16:creationId xmlns:a16="http://schemas.microsoft.com/office/drawing/2014/main" id="{5D63CFA2-6903-4898-A0CB-696939A4D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501">
              <a:extLst>
                <a:ext uri="{FF2B5EF4-FFF2-40B4-BE49-F238E27FC236}">
                  <a16:creationId xmlns:a16="http://schemas.microsoft.com/office/drawing/2014/main" id="{B465F92C-757B-4BA5-8968-E8C05112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502">
              <a:extLst>
                <a:ext uri="{FF2B5EF4-FFF2-40B4-BE49-F238E27FC236}">
                  <a16:creationId xmlns:a16="http://schemas.microsoft.com/office/drawing/2014/main" id="{BA8F70E0-0E3E-4814-86F1-662F8F25B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503">
              <a:extLst>
                <a:ext uri="{FF2B5EF4-FFF2-40B4-BE49-F238E27FC236}">
                  <a16:creationId xmlns:a16="http://schemas.microsoft.com/office/drawing/2014/main" id="{FA66968F-1ADF-46EC-B5D1-8A09A76F2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504">
              <a:extLst>
                <a:ext uri="{FF2B5EF4-FFF2-40B4-BE49-F238E27FC236}">
                  <a16:creationId xmlns:a16="http://schemas.microsoft.com/office/drawing/2014/main" id="{5C72258C-6244-48E0-9D7F-E03A4D2F8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C4124A18-15A7-4FF4-94FF-00DA953F99EB}"/>
              </a:ext>
            </a:extLst>
          </p:cNvPr>
          <p:cNvGrpSpPr/>
          <p:nvPr/>
        </p:nvGrpSpPr>
        <p:grpSpPr>
          <a:xfrm>
            <a:off x="4828496" y="1575593"/>
            <a:ext cx="287338" cy="287338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71" name="Freeform 372">
              <a:extLst>
                <a:ext uri="{FF2B5EF4-FFF2-40B4-BE49-F238E27FC236}">
                  <a16:creationId xmlns:a16="http://schemas.microsoft.com/office/drawing/2014/main" id="{76BBAD0E-EAC2-43BF-915B-AB73A578B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3">
              <a:extLst>
                <a:ext uri="{FF2B5EF4-FFF2-40B4-BE49-F238E27FC236}">
                  <a16:creationId xmlns:a16="http://schemas.microsoft.com/office/drawing/2014/main" id="{254ECB37-BCBA-4610-B946-65470118A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51CA36-B57E-41FD-A1C8-520FAEAC64BC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74F8687-6870-405F-98FC-B41F96B06C57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O?</a:t>
            </a:r>
            <a:endParaRPr lang="ko-KR" alt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04093C-A9B6-4732-A594-3FCDF2D73B5A}"/>
              </a:ext>
            </a:extLst>
          </p:cNvPr>
          <p:cNvSpPr txBox="1"/>
          <p:nvPr/>
        </p:nvSpPr>
        <p:spPr>
          <a:xfrm>
            <a:off x="185530" y="32909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 dirty="0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우리 팀을 소개합니다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F4B318-0682-4BAA-BD9A-66335DF04ACC}"/>
              </a:ext>
            </a:extLst>
          </p:cNvPr>
          <p:cNvSpPr txBox="1"/>
          <p:nvPr/>
        </p:nvSpPr>
        <p:spPr>
          <a:xfrm>
            <a:off x="8689009" y="3631095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ko-KR" altLang="en-US" sz="1600" b="1">
                <a:latin typeface="Malgun Gothic"/>
                <a:ea typeface="Malgun Gothic"/>
              </a:rPr>
              <a:t>김향이</a:t>
            </a:r>
            <a:endParaRPr lang="ko-KR" altLang="en-US" sz="1600" b="1" dirty="0"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05779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BB724-0CB6-4898-9074-9C821F46B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0881" y="1460501"/>
            <a:ext cx="6407260" cy="4546598"/>
          </a:xfrm>
          <a:prstGeom prst="rect">
            <a:avLst/>
          </a:prstGeom>
        </p:spPr>
      </p:pic>
      <p:pic>
        <p:nvPicPr>
          <p:cNvPr id="14" name="Picture 1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FD90B457-6D5B-4D79-BD9B-F416D3ECC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6343" y="1599300"/>
            <a:ext cx="6202279" cy="35446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AT?</a:t>
            </a:r>
            <a:endParaRPr lang="ko-KR" alt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4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FA3D0946-1F68-4FF1-9CD8-B8B31ECD2753}"/>
              </a:ext>
            </a:extLst>
          </p:cNvPr>
          <p:cNvSpPr/>
          <p:nvPr/>
        </p:nvSpPr>
        <p:spPr>
          <a:xfrm>
            <a:off x="9444375" y="5862638"/>
            <a:ext cx="2089149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7AEEB3-2672-419A-80BB-42078CB4E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345947" y="2017191"/>
            <a:ext cx="1981202" cy="4164534"/>
          </a:xfrm>
          <a:prstGeom prst="rect">
            <a:avLst/>
          </a:prstGeom>
        </p:spPr>
      </p:pic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4905B44F-D6EE-4B2E-B8DF-B9B4C4AE3C42}"/>
              </a:ext>
            </a:extLst>
          </p:cNvPr>
          <p:cNvSpPr/>
          <p:nvPr/>
        </p:nvSpPr>
        <p:spPr>
          <a:xfrm rot="5400000">
            <a:off x="3142591" y="2447332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E77035F8-48BD-4E5F-B122-FE0375E15EC8}"/>
              </a:ext>
            </a:extLst>
          </p:cNvPr>
          <p:cNvSpPr/>
          <p:nvPr/>
        </p:nvSpPr>
        <p:spPr>
          <a:xfrm rot="5400000">
            <a:off x="3142590" y="4030815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51CE30F5-39D7-4CA1-B878-1FA76E8AE354}"/>
              </a:ext>
            </a:extLst>
          </p:cNvPr>
          <p:cNvSpPr/>
          <p:nvPr/>
        </p:nvSpPr>
        <p:spPr>
          <a:xfrm>
            <a:off x="658476" y="1969726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4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484FF5AB-4E58-4578-A010-93CB9EAA9E32}"/>
              </a:ext>
            </a:extLst>
          </p:cNvPr>
          <p:cNvSpPr/>
          <p:nvPr/>
        </p:nvSpPr>
        <p:spPr>
          <a:xfrm>
            <a:off x="658476" y="3541842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5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8321AC9-191E-4B8B-B4BA-085C713D107A}"/>
              </a:ext>
            </a:extLst>
          </p:cNvPr>
          <p:cNvSpPr txBox="1"/>
          <p:nvPr/>
        </p:nvSpPr>
        <p:spPr>
          <a:xfrm>
            <a:off x="1152134" y="3826696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초보 프로그래머들을 위한 인터넷 강의 플랫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100187-9B4F-4EA2-B55F-AB68080FA9F9}"/>
              </a:ext>
            </a:extLst>
          </p:cNvPr>
          <p:cNvSpPr txBox="1"/>
          <p:nvPr/>
        </p:nvSpPr>
        <p:spPr>
          <a:xfrm>
            <a:off x="212558" y="322847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ko-KR" altLang="en-US" b="1" dirty="0" err="1">
                <a:solidFill>
                  <a:schemeClr val="bg1">
                    <a:lumMod val="65000"/>
                  </a:schemeClr>
                </a:solidFill>
                <a:latin typeface="Malgun Gothic"/>
                <a:ea typeface="Malgun Gothic"/>
              </a:rPr>
              <a:t>WWW는</a:t>
            </a:r>
            <a:r>
              <a:rPr lang="ko-KR" altLang="en-US" b="1" dirty="0">
                <a:solidFill>
                  <a:schemeClr val="bg1">
                    <a:lumMod val="65000"/>
                  </a:schemeClr>
                </a:solidFill>
                <a:latin typeface="Malgun Gothic"/>
                <a:ea typeface="Malgun Gothic"/>
              </a:rPr>
              <a:t>?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CC12E76-E3D6-4420-A093-C05E074FA1D6}"/>
              </a:ext>
            </a:extLst>
          </p:cNvPr>
          <p:cNvSpPr txBox="1"/>
          <p:nvPr/>
        </p:nvSpPr>
        <p:spPr>
          <a:xfrm>
            <a:off x="1152134" y="2254579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"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프로그래머스</a:t>
            </a: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"</a:t>
            </a:r>
            <a:endParaRPr lang="ko-KR" dirty="0">
              <a:solidFill>
                <a:schemeClr val="bg1"/>
              </a:solidFill>
            </a:endParaRPr>
          </a:p>
          <a:p>
            <a:pPr algn="r">
              <a:buClr>
                <a:schemeClr val="accent1"/>
              </a:buClr>
            </a:pPr>
            <a:r>
              <a:rPr lang="ko-KR" altLang="en-US" sz="1600" dirty="0">
                <a:solidFill>
                  <a:schemeClr val="bg1"/>
                </a:solidFill>
                <a:latin typeface="Malgun Gothic"/>
                <a:ea typeface="Malgun Gothic"/>
              </a:rPr>
              <a:t>벤치마킹</a:t>
            </a:r>
            <a:endParaRPr lang="ko-K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949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Y?</a:t>
            </a:r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5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049A252-E9DD-489A-9239-831B3BD33C8F}"/>
              </a:ext>
            </a:extLst>
          </p:cNvPr>
          <p:cNvSpPr/>
          <p:nvPr/>
        </p:nvSpPr>
        <p:spPr>
          <a:xfrm>
            <a:off x="8049914" y="3498592"/>
            <a:ext cx="4142085" cy="21568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5F013-F3BA-47CD-93A9-5C232228D709}"/>
              </a:ext>
            </a:extLst>
          </p:cNvPr>
          <p:cNvSpPr/>
          <p:nvPr/>
        </p:nvSpPr>
        <p:spPr>
          <a:xfrm>
            <a:off x="4838700" y="3498592"/>
            <a:ext cx="3211215" cy="215683"/>
          </a:xfrm>
          <a:prstGeom prst="rect">
            <a:avLst/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2509CC-7CC4-4E16-BE35-C0D615E7DF80}"/>
              </a:ext>
            </a:extLst>
          </p:cNvPr>
          <p:cNvSpPr/>
          <p:nvPr/>
        </p:nvSpPr>
        <p:spPr>
          <a:xfrm>
            <a:off x="2330451" y="3498592"/>
            <a:ext cx="2508249" cy="215683"/>
          </a:xfrm>
          <a:prstGeom prst="rect">
            <a:avLst/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6A5FFF-05E4-484C-94D6-9A1754C99B85}"/>
              </a:ext>
            </a:extLst>
          </p:cNvPr>
          <p:cNvSpPr/>
          <p:nvPr/>
        </p:nvSpPr>
        <p:spPr>
          <a:xfrm>
            <a:off x="1" y="3498592"/>
            <a:ext cx="2330450" cy="215683"/>
          </a:xfrm>
          <a:prstGeom prst="rect">
            <a:avLst/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0BE67B5A-7FDB-4D3F-B825-15C452F796C5}"/>
              </a:ext>
            </a:extLst>
          </p:cNvPr>
          <p:cNvSpPr/>
          <p:nvPr/>
        </p:nvSpPr>
        <p:spPr>
          <a:xfrm>
            <a:off x="8960590" y="1918337"/>
            <a:ext cx="1795939" cy="1795938"/>
          </a:xfrm>
          <a:prstGeom prst="donut">
            <a:avLst>
              <a:gd name="adj" fmla="val 1249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CEE43BAB-0ECF-4F01-A4CD-40FFDFAA5FE0}"/>
              </a:ext>
            </a:extLst>
          </p:cNvPr>
          <p:cNvSpPr/>
          <p:nvPr/>
        </p:nvSpPr>
        <p:spPr>
          <a:xfrm>
            <a:off x="6452217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280E32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FBD76AA-9FE8-45A6-9CDC-720E279CA43E}"/>
              </a:ext>
            </a:extLst>
          </p:cNvPr>
          <p:cNvSpPr/>
          <p:nvPr/>
        </p:nvSpPr>
        <p:spPr>
          <a:xfrm>
            <a:off x="3943844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55627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B5631EEF-80EF-4AC3-B20D-C081126F6966}"/>
              </a:ext>
            </a:extLst>
          </p:cNvPr>
          <p:cNvSpPr/>
          <p:nvPr/>
        </p:nvSpPr>
        <p:spPr>
          <a:xfrm>
            <a:off x="1435471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FF6B6B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2671D3F2-F1F4-42AA-9CB7-735FE6F2D76B}"/>
              </a:ext>
            </a:extLst>
          </p:cNvPr>
          <p:cNvSpPr/>
          <p:nvPr/>
        </p:nvSpPr>
        <p:spPr>
          <a:xfrm flipV="1">
            <a:off x="2222501" y="3917360"/>
            <a:ext cx="215900" cy="186120"/>
          </a:xfrm>
          <a:prstGeom prst="triangle">
            <a:avLst/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840C1ABB-E2C4-46AC-B613-4BF3F34F2C77}"/>
              </a:ext>
            </a:extLst>
          </p:cNvPr>
          <p:cNvSpPr/>
          <p:nvPr/>
        </p:nvSpPr>
        <p:spPr>
          <a:xfrm flipV="1">
            <a:off x="4730750" y="3917360"/>
            <a:ext cx="215900" cy="186120"/>
          </a:xfrm>
          <a:prstGeom prst="triangle">
            <a:avLst/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2CFEEF99-94BA-436B-9AAD-017243536925}"/>
              </a:ext>
            </a:extLst>
          </p:cNvPr>
          <p:cNvSpPr/>
          <p:nvPr/>
        </p:nvSpPr>
        <p:spPr>
          <a:xfrm flipV="1">
            <a:off x="7245352" y="3917360"/>
            <a:ext cx="215900" cy="186120"/>
          </a:xfrm>
          <a:prstGeom prst="triangle">
            <a:avLst/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408D5525-B47C-45BD-8C93-257F30BBDE78}"/>
              </a:ext>
            </a:extLst>
          </p:cNvPr>
          <p:cNvSpPr/>
          <p:nvPr/>
        </p:nvSpPr>
        <p:spPr>
          <a:xfrm flipV="1">
            <a:off x="9750609" y="3917360"/>
            <a:ext cx="215900" cy="18612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59C07B-3868-4894-8AED-31C64FE67C52}"/>
              </a:ext>
            </a:extLst>
          </p:cNvPr>
          <p:cNvSpPr txBox="1"/>
          <p:nvPr/>
        </p:nvSpPr>
        <p:spPr>
          <a:xfrm>
            <a:off x="1435471" y="4273465"/>
            <a:ext cx="1789960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프로그래밍 강의 수강을 통한 실력 향상</a:t>
            </a:r>
            <a:endParaRPr lang="ko-KR"/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코딩 연습을 통해 나의 실력 점검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D3CB14B-B423-4127-A533-DE850CDAF09C}"/>
              </a:ext>
            </a:extLst>
          </p:cNvPr>
          <p:cNvSpPr txBox="1"/>
          <p:nvPr/>
        </p:nvSpPr>
        <p:spPr>
          <a:xfrm>
            <a:off x="3949823" y="4273465"/>
            <a:ext cx="1789960" cy="12926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검색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기능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부재</a:t>
            </a:r>
            <a:endParaRPr lang="ko-KR"/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알아보기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힘든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의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분류</a:t>
            </a:r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초보자에게 불친절한 문제와 설명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38F8CE-45EB-41F2-85C9-FD491AA6132E}"/>
              </a:ext>
            </a:extLst>
          </p:cNvPr>
          <p:cNvSpPr txBox="1"/>
          <p:nvPr/>
        </p:nvSpPr>
        <p:spPr>
          <a:xfrm>
            <a:off x="6458196" y="4273465"/>
            <a:ext cx="17899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 algn="ctr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레벨테스트 결과를 채용 과정에 활용</a:t>
            </a:r>
            <a:endParaRPr lang="ko-KR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E6F450A-8864-4058-A001-734A83C0CA88}"/>
              </a:ext>
            </a:extLst>
          </p:cNvPr>
          <p:cNvSpPr txBox="1"/>
          <p:nvPr/>
        </p:nvSpPr>
        <p:spPr>
          <a:xfrm>
            <a:off x="8966569" y="4273465"/>
            <a:ext cx="17899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 algn="ctr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다수의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경쟁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사이트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존재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96040DC-1341-48CE-9235-E33EB1957F8F}"/>
              </a:ext>
            </a:extLst>
          </p:cNvPr>
          <p:cNvGrpSpPr/>
          <p:nvPr/>
        </p:nvGrpSpPr>
        <p:grpSpPr>
          <a:xfrm>
            <a:off x="4598786" y="2573279"/>
            <a:ext cx="486054" cy="486054"/>
            <a:chOff x="4891088" y="2490788"/>
            <a:chExt cx="287338" cy="287338"/>
          </a:xfrm>
          <a:solidFill>
            <a:srgbClr val="556270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BA526940-5458-42A6-8DE1-C1AF36412D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088" y="2490788"/>
              <a:ext cx="287338" cy="287338"/>
            </a:xfrm>
            <a:custGeom>
              <a:avLst/>
              <a:gdLst>
                <a:gd name="T0" fmla="*/ 64 w 902"/>
                <a:gd name="T1" fmla="*/ 871 h 902"/>
                <a:gd name="T2" fmla="*/ 43 w 902"/>
                <a:gd name="T3" fmla="*/ 861 h 902"/>
                <a:gd name="T4" fmla="*/ 31 w 902"/>
                <a:gd name="T5" fmla="*/ 839 h 902"/>
                <a:gd name="T6" fmla="*/ 234 w 902"/>
                <a:gd name="T7" fmla="*/ 597 h 902"/>
                <a:gd name="T8" fmla="*/ 246 w 902"/>
                <a:gd name="T9" fmla="*/ 599 h 902"/>
                <a:gd name="T10" fmla="*/ 255 w 902"/>
                <a:gd name="T11" fmla="*/ 593 h 902"/>
                <a:gd name="T12" fmla="*/ 258 w 902"/>
                <a:gd name="T13" fmla="*/ 584 h 902"/>
                <a:gd name="T14" fmla="*/ 255 w 902"/>
                <a:gd name="T15" fmla="*/ 575 h 902"/>
                <a:gd name="T16" fmla="*/ 181 w 902"/>
                <a:gd name="T17" fmla="*/ 524 h 902"/>
                <a:gd name="T18" fmla="*/ 722 w 902"/>
                <a:gd name="T19" fmla="*/ 524 h 902"/>
                <a:gd name="T20" fmla="*/ 647 w 902"/>
                <a:gd name="T21" fmla="*/ 575 h 902"/>
                <a:gd name="T22" fmla="*/ 645 w 902"/>
                <a:gd name="T23" fmla="*/ 584 h 902"/>
                <a:gd name="T24" fmla="*/ 647 w 902"/>
                <a:gd name="T25" fmla="*/ 593 h 902"/>
                <a:gd name="T26" fmla="*/ 657 w 902"/>
                <a:gd name="T27" fmla="*/ 599 h 902"/>
                <a:gd name="T28" fmla="*/ 669 w 902"/>
                <a:gd name="T29" fmla="*/ 597 h 902"/>
                <a:gd name="T30" fmla="*/ 871 w 902"/>
                <a:gd name="T31" fmla="*/ 839 h 902"/>
                <a:gd name="T32" fmla="*/ 861 w 902"/>
                <a:gd name="T33" fmla="*/ 861 h 902"/>
                <a:gd name="T34" fmla="*/ 839 w 902"/>
                <a:gd name="T35" fmla="*/ 871 h 902"/>
                <a:gd name="T36" fmla="*/ 43 w 902"/>
                <a:gd name="T37" fmla="*/ 432 h 902"/>
                <a:gd name="T38" fmla="*/ 861 w 902"/>
                <a:gd name="T39" fmla="*/ 432 h 902"/>
                <a:gd name="T40" fmla="*/ 861 w 902"/>
                <a:gd name="T41" fmla="*/ 432 h 902"/>
                <a:gd name="T42" fmla="*/ 902 w 902"/>
                <a:gd name="T43" fmla="*/ 430 h 902"/>
                <a:gd name="T44" fmla="*/ 900 w 902"/>
                <a:gd name="T45" fmla="*/ 424 h 902"/>
                <a:gd name="T46" fmla="*/ 899 w 902"/>
                <a:gd name="T47" fmla="*/ 423 h 902"/>
                <a:gd name="T48" fmla="*/ 896 w 902"/>
                <a:gd name="T49" fmla="*/ 420 h 902"/>
                <a:gd name="T50" fmla="*/ 752 w 902"/>
                <a:gd name="T51" fmla="*/ 322 h 902"/>
                <a:gd name="T52" fmla="*/ 751 w 902"/>
                <a:gd name="T53" fmla="*/ 9 h 902"/>
                <a:gd name="T54" fmla="*/ 746 w 902"/>
                <a:gd name="T55" fmla="*/ 3 h 902"/>
                <a:gd name="T56" fmla="*/ 737 w 902"/>
                <a:gd name="T57" fmla="*/ 0 h 902"/>
                <a:gd name="T58" fmla="*/ 159 w 902"/>
                <a:gd name="T59" fmla="*/ 1 h 902"/>
                <a:gd name="T60" fmla="*/ 153 w 902"/>
                <a:gd name="T61" fmla="*/ 6 h 902"/>
                <a:gd name="T62" fmla="*/ 151 w 902"/>
                <a:gd name="T63" fmla="*/ 15 h 902"/>
                <a:gd name="T64" fmla="*/ 7 w 902"/>
                <a:gd name="T65" fmla="*/ 420 h 902"/>
                <a:gd name="T66" fmla="*/ 5 w 902"/>
                <a:gd name="T67" fmla="*/ 421 h 902"/>
                <a:gd name="T68" fmla="*/ 3 w 902"/>
                <a:gd name="T69" fmla="*/ 424 h 902"/>
                <a:gd name="T70" fmla="*/ 1 w 902"/>
                <a:gd name="T71" fmla="*/ 426 h 902"/>
                <a:gd name="T72" fmla="*/ 1 w 902"/>
                <a:gd name="T73" fmla="*/ 430 h 902"/>
                <a:gd name="T74" fmla="*/ 0 w 902"/>
                <a:gd name="T75" fmla="*/ 831 h 902"/>
                <a:gd name="T76" fmla="*/ 3 w 902"/>
                <a:gd name="T77" fmla="*/ 852 h 902"/>
                <a:gd name="T78" fmla="*/ 13 w 902"/>
                <a:gd name="T79" fmla="*/ 870 h 902"/>
                <a:gd name="T80" fmla="*/ 26 w 902"/>
                <a:gd name="T81" fmla="*/ 886 h 902"/>
                <a:gd name="T82" fmla="*/ 44 w 902"/>
                <a:gd name="T83" fmla="*/ 897 h 902"/>
                <a:gd name="T84" fmla="*/ 65 w 902"/>
                <a:gd name="T85" fmla="*/ 902 h 902"/>
                <a:gd name="T86" fmla="*/ 838 w 902"/>
                <a:gd name="T87" fmla="*/ 902 h 902"/>
                <a:gd name="T88" fmla="*/ 858 w 902"/>
                <a:gd name="T89" fmla="*/ 897 h 902"/>
                <a:gd name="T90" fmla="*/ 877 w 902"/>
                <a:gd name="T91" fmla="*/ 886 h 902"/>
                <a:gd name="T92" fmla="*/ 891 w 902"/>
                <a:gd name="T93" fmla="*/ 870 h 902"/>
                <a:gd name="T94" fmla="*/ 899 w 902"/>
                <a:gd name="T95" fmla="*/ 852 h 902"/>
                <a:gd name="T96" fmla="*/ 902 w 902"/>
                <a:gd name="T97" fmla="*/ 831 h 902"/>
                <a:gd name="T98" fmla="*/ 902 w 902"/>
                <a:gd name="T99" fmla="*/ 43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2" h="902">
                  <a:moveTo>
                    <a:pt x="831" y="872"/>
                  </a:moveTo>
                  <a:lnTo>
                    <a:pt x="71" y="872"/>
                  </a:lnTo>
                  <a:lnTo>
                    <a:pt x="64" y="871"/>
                  </a:lnTo>
                  <a:lnTo>
                    <a:pt x="55" y="869"/>
                  </a:lnTo>
                  <a:lnTo>
                    <a:pt x="49" y="865"/>
                  </a:lnTo>
                  <a:lnTo>
                    <a:pt x="43" y="861"/>
                  </a:lnTo>
                  <a:lnTo>
                    <a:pt x="37" y="854"/>
                  </a:lnTo>
                  <a:lnTo>
                    <a:pt x="33" y="847"/>
                  </a:lnTo>
                  <a:lnTo>
                    <a:pt x="31" y="839"/>
                  </a:lnTo>
                  <a:lnTo>
                    <a:pt x="30" y="831"/>
                  </a:lnTo>
                  <a:lnTo>
                    <a:pt x="30" y="461"/>
                  </a:lnTo>
                  <a:lnTo>
                    <a:pt x="234" y="597"/>
                  </a:lnTo>
                  <a:lnTo>
                    <a:pt x="239" y="598"/>
                  </a:lnTo>
                  <a:lnTo>
                    <a:pt x="243" y="599"/>
                  </a:lnTo>
                  <a:lnTo>
                    <a:pt x="246" y="599"/>
                  </a:lnTo>
                  <a:lnTo>
                    <a:pt x="249" y="597"/>
                  </a:lnTo>
                  <a:lnTo>
                    <a:pt x="253" y="595"/>
                  </a:lnTo>
                  <a:lnTo>
                    <a:pt x="255" y="593"/>
                  </a:lnTo>
                  <a:lnTo>
                    <a:pt x="257" y="589"/>
                  </a:lnTo>
                  <a:lnTo>
                    <a:pt x="257" y="587"/>
                  </a:lnTo>
                  <a:lnTo>
                    <a:pt x="258" y="584"/>
                  </a:lnTo>
                  <a:lnTo>
                    <a:pt x="257" y="581"/>
                  </a:lnTo>
                  <a:lnTo>
                    <a:pt x="257" y="579"/>
                  </a:lnTo>
                  <a:lnTo>
                    <a:pt x="255" y="575"/>
                  </a:lnTo>
                  <a:lnTo>
                    <a:pt x="254" y="573"/>
                  </a:lnTo>
                  <a:lnTo>
                    <a:pt x="251" y="571"/>
                  </a:lnTo>
                  <a:lnTo>
                    <a:pt x="181" y="524"/>
                  </a:lnTo>
                  <a:lnTo>
                    <a:pt x="181" y="30"/>
                  </a:lnTo>
                  <a:lnTo>
                    <a:pt x="722" y="30"/>
                  </a:lnTo>
                  <a:lnTo>
                    <a:pt x="722" y="524"/>
                  </a:lnTo>
                  <a:lnTo>
                    <a:pt x="652" y="571"/>
                  </a:lnTo>
                  <a:lnTo>
                    <a:pt x="649" y="573"/>
                  </a:lnTo>
                  <a:lnTo>
                    <a:pt x="647" y="575"/>
                  </a:lnTo>
                  <a:lnTo>
                    <a:pt x="646" y="579"/>
                  </a:lnTo>
                  <a:lnTo>
                    <a:pt x="645" y="581"/>
                  </a:lnTo>
                  <a:lnTo>
                    <a:pt x="645" y="584"/>
                  </a:lnTo>
                  <a:lnTo>
                    <a:pt x="645" y="587"/>
                  </a:lnTo>
                  <a:lnTo>
                    <a:pt x="646" y="589"/>
                  </a:lnTo>
                  <a:lnTo>
                    <a:pt x="647" y="593"/>
                  </a:lnTo>
                  <a:lnTo>
                    <a:pt x="650" y="595"/>
                  </a:lnTo>
                  <a:lnTo>
                    <a:pt x="653" y="597"/>
                  </a:lnTo>
                  <a:lnTo>
                    <a:pt x="657" y="599"/>
                  </a:lnTo>
                  <a:lnTo>
                    <a:pt x="660" y="599"/>
                  </a:lnTo>
                  <a:lnTo>
                    <a:pt x="664" y="598"/>
                  </a:lnTo>
                  <a:lnTo>
                    <a:pt x="669" y="597"/>
                  </a:lnTo>
                  <a:lnTo>
                    <a:pt x="872" y="461"/>
                  </a:lnTo>
                  <a:lnTo>
                    <a:pt x="872" y="831"/>
                  </a:lnTo>
                  <a:lnTo>
                    <a:pt x="871" y="839"/>
                  </a:lnTo>
                  <a:lnTo>
                    <a:pt x="869" y="847"/>
                  </a:lnTo>
                  <a:lnTo>
                    <a:pt x="865" y="854"/>
                  </a:lnTo>
                  <a:lnTo>
                    <a:pt x="861" y="861"/>
                  </a:lnTo>
                  <a:lnTo>
                    <a:pt x="854" y="865"/>
                  </a:lnTo>
                  <a:lnTo>
                    <a:pt x="847" y="869"/>
                  </a:lnTo>
                  <a:lnTo>
                    <a:pt x="839" y="871"/>
                  </a:lnTo>
                  <a:lnTo>
                    <a:pt x="831" y="872"/>
                  </a:lnTo>
                  <a:close/>
                  <a:moveTo>
                    <a:pt x="151" y="505"/>
                  </a:moveTo>
                  <a:lnTo>
                    <a:pt x="43" y="432"/>
                  </a:lnTo>
                  <a:lnTo>
                    <a:pt x="151" y="359"/>
                  </a:lnTo>
                  <a:lnTo>
                    <a:pt x="151" y="505"/>
                  </a:lnTo>
                  <a:close/>
                  <a:moveTo>
                    <a:pt x="861" y="432"/>
                  </a:moveTo>
                  <a:lnTo>
                    <a:pt x="752" y="505"/>
                  </a:lnTo>
                  <a:lnTo>
                    <a:pt x="752" y="359"/>
                  </a:lnTo>
                  <a:lnTo>
                    <a:pt x="861" y="432"/>
                  </a:lnTo>
                  <a:close/>
                  <a:moveTo>
                    <a:pt x="902" y="430"/>
                  </a:moveTo>
                  <a:lnTo>
                    <a:pt x="902" y="430"/>
                  </a:lnTo>
                  <a:lnTo>
                    <a:pt x="902" y="430"/>
                  </a:lnTo>
                  <a:lnTo>
                    <a:pt x="901" y="426"/>
                  </a:lnTo>
                  <a:lnTo>
                    <a:pt x="900" y="424"/>
                  </a:lnTo>
                  <a:lnTo>
                    <a:pt x="900" y="424"/>
                  </a:lnTo>
                  <a:lnTo>
                    <a:pt x="900" y="424"/>
                  </a:lnTo>
                  <a:lnTo>
                    <a:pt x="900" y="423"/>
                  </a:lnTo>
                  <a:lnTo>
                    <a:pt x="899" y="423"/>
                  </a:lnTo>
                  <a:lnTo>
                    <a:pt x="898" y="421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752" y="322"/>
                  </a:lnTo>
                  <a:lnTo>
                    <a:pt x="752" y="15"/>
                  </a:lnTo>
                  <a:lnTo>
                    <a:pt x="752" y="11"/>
                  </a:lnTo>
                  <a:lnTo>
                    <a:pt x="751" y="9"/>
                  </a:lnTo>
                  <a:lnTo>
                    <a:pt x="749" y="6"/>
                  </a:lnTo>
                  <a:lnTo>
                    <a:pt x="748" y="4"/>
                  </a:lnTo>
                  <a:lnTo>
                    <a:pt x="746" y="3"/>
                  </a:lnTo>
                  <a:lnTo>
                    <a:pt x="743" y="1"/>
                  </a:lnTo>
                  <a:lnTo>
                    <a:pt x="741" y="0"/>
                  </a:lnTo>
                  <a:lnTo>
                    <a:pt x="737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7" y="3"/>
                  </a:lnTo>
                  <a:lnTo>
                    <a:pt x="155" y="4"/>
                  </a:lnTo>
                  <a:lnTo>
                    <a:pt x="153" y="6"/>
                  </a:lnTo>
                  <a:lnTo>
                    <a:pt x="152" y="9"/>
                  </a:lnTo>
                  <a:lnTo>
                    <a:pt x="151" y="11"/>
                  </a:lnTo>
                  <a:lnTo>
                    <a:pt x="151" y="15"/>
                  </a:lnTo>
                  <a:lnTo>
                    <a:pt x="151" y="322"/>
                  </a:lnTo>
                  <a:lnTo>
                    <a:pt x="7" y="420"/>
                  </a:lnTo>
                  <a:lnTo>
                    <a:pt x="7" y="420"/>
                  </a:lnTo>
                  <a:lnTo>
                    <a:pt x="7" y="420"/>
                  </a:lnTo>
                  <a:lnTo>
                    <a:pt x="6" y="420"/>
                  </a:lnTo>
                  <a:lnTo>
                    <a:pt x="5" y="421"/>
                  </a:lnTo>
                  <a:lnTo>
                    <a:pt x="3" y="423"/>
                  </a:lnTo>
                  <a:lnTo>
                    <a:pt x="3" y="423"/>
                  </a:lnTo>
                  <a:lnTo>
                    <a:pt x="3" y="424"/>
                  </a:lnTo>
                  <a:lnTo>
                    <a:pt x="3" y="424"/>
                  </a:lnTo>
                  <a:lnTo>
                    <a:pt x="2" y="424"/>
                  </a:lnTo>
                  <a:lnTo>
                    <a:pt x="1" y="426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0" y="431"/>
                  </a:lnTo>
                  <a:lnTo>
                    <a:pt x="0" y="432"/>
                  </a:lnTo>
                  <a:lnTo>
                    <a:pt x="0" y="831"/>
                  </a:lnTo>
                  <a:lnTo>
                    <a:pt x="1" y="838"/>
                  </a:lnTo>
                  <a:lnTo>
                    <a:pt x="2" y="845"/>
                  </a:lnTo>
                  <a:lnTo>
                    <a:pt x="3" y="852"/>
                  </a:lnTo>
                  <a:lnTo>
                    <a:pt x="6" y="858"/>
                  </a:lnTo>
                  <a:lnTo>
                    <a:pt x="8" y="865"/>
                  </a:lnTo>
                  <a:lnTo>
                    <a:pt x="13" y="870"/>
                  </a:lnTo>
                  <a:lnTo>
                    <a:pt x="17" y="877"/>
                  </a:lnTo>
                  <a:lnTo>
                    <a:pt x="21" y="881"/>
                  </a:lnTo>
                  <a:lnTo>
                    <a:pt x="26" y="886"/>
                  </a:lnTo>
                  <a:lnTo>
                    <a:pt x="32" y="891"/>
                  </a:lnTo>
                  <a:lnTo>
                    <a:pt x="37" y="894"/>
                  </a:lnTo>
                  <a:lnTo>
                    <a:pt x="44" y="897"/>
                  </a:lnTo>
                  <a:lnTo>
                    <a:pt x="50" y="899"/>
                  </a:lnTo>
                  <a:lnTo>
                    <a:pt x="58" y="901"/>
                  </a:lnTo>
                  <a:lnTo>
                    <a:pt x="65" y="902"/>
                  </a:lnTo>
                  <a:lnTo>
                    <a:pt x="71" y="902"/>
                  </a:lnTo>
                  <a:lnTo>
                    <a:pt x="831" y="902"/>
                  </a:lnTo>
                  <a:lnTo>
                    <a:pt x="838" y="902"/>
                  </a:lnTo>
                  <a:lnTo>
                    <a:pt x="846" y="901"/>
                  </a:lnTo>
                  <a:lnTo>
                    <a:pt x="852" y="899"/>
                  </a:lnTo>
                  <a:lnTo>
                    <a:pt x="858" y="897"/>
                  </a:lnTo>
                  <a:lnTo>
                    <a:pt x="865" y="894"/>
                  </a:lnTo>
                  <a:lnTo>
                    <a:pt x="871" y="891"/>
                  </a:lnTo>
                  <a:lnTo>
                    <a:pt x="877" y="886"/>
                  </a:lnTo>
                  <a:lnTo>
                    <a:pt x="881" y="881"/>
                  </a:lnTo>
                  <a:lnTo>
                    <a:pt x="886" y="877"/>
                  </a:lnTo>
                  <a:lnTo>
                    <a:pt x="891" y="870"/>
                  </a:lnTo>
                  <a:lnTo>
                    <a:pt x="894" y="865"/>
                  </a:lnTo>
                  <a:lnTo>
                    <a:pt x="897" y="858"/>
                  </a:lnTo>
                  <a:lnTo>
                    <a:pt x="899" y="852"/>
                  </a:lnTo>
                  <a:lnTo>
                    <a:pt x="901" y="846"/>
                  </a:lnTo>
                  <a:lnTo>
                    <a:pt x="902" y="838"/>
                  </a:lnTo>
                  <a:lnTo>
                    <a:pt x="902" y="831"/>
                  </a:lnTo>
                  <a:lnTo>
                    <a:pt x="902" y="432"/>
                  </a:lnTo>
                  <a:lnTo>
                    <a:pt x="902" y="431"/>
                  </a:lnTo>
                  <a:lnTo>
                    <a:pt x="902" y="4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5">
              <a:extLst>
                <a:ext uri="{FF2B5EF4-FFF2-40B4-BE49-F238E27FC236}">
                  <a16:creationId xmlns:a16="http://schemas.microsoft.com/office/drawing/2014/main" id="{B839F873-E713-4EA9-BC24-B3FA6B373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013" y="2682875"/>
              <a:ext cx="219075" cy="61913"/>
            </a:xfrm>
            <a:custGeom>
              <a:avLst/>
              <a:gdLst>
                <a:gd name="T0" fmla="*/ 491 w 691"/>
                <a:gd name="T1" fmla="*/ 4 h 196"/>
                <a:gd name="T2" fmla="*/ 486 w 691"/>
                <a:gd name="T3" fmla="*/ 1 h 196"/>
                <a:gd name="T4" fmla="*/ 481 w 691"/>
                <a:gd name="T5" fmla="*/ 0 h 196"/>
                <a:gd name="T6" fmla="*/ 210 w 691"/>
                <a:gd name="T7" fmla="*/ 0 h 196"/>
                <a:gd name="T8" fmla="*/ 205 w 691"/>
                <a:gd name="T9" fmla="*/ 1 h 196"/>
                <a:gd name="T10" fmla="*/ 200 w 691"/>
                <a:gd name="T11" fmla="*/ 4 h 196"/>
                <a:gd name="T12" fmla="*/ 4 w 691"/>
                <a:gd name="T13" fmla="*/ 170 h 196"/>
                <a:gd name="T14" fmla="*/ 2 w 691"/>
                <a:gd name="T15" fmla="*/ 172 h 196"/>
                <a:gd name="T16" fmla="*/ 1 w 691"/>
                <a:gd name="T17" fmla="*/ 174 h 196"/>
                <a:gd name="T18" fmla="*/ 0 w 691"/>
                <a:gd name="T19" fmla="*/ 177 h 196"/>
                <a:gd name="T20" fmla="*/ 0 w 691"/>
                <a:gd name="T21" fmla="*/ 180 h 196"/>
                <a:gd name="T22" fmla="*/ 0 w 691"/>
                <a:gd name="T23" fmla="*/ 182 h 196"/>
                <a:gd name="T24" fmla="*/ 0 w 691"/>
                <a:gd name="T25" fmla="*/ 186 h 196"/>
                <a:gd name="T26" fmla="*/ 1 w 691"/>
                <a:gd name="T27" fmla="*/ 189 h 196"/>
                <a:gd name="T28" fmla="*/ 3 w 691"/>
                <a:gd name="T29" fmla="*/ 191 h 196"/>
                <a:gd name="T30" fmla="*/ 5 w 691"/>
                <a:gd name="T31" fmla="*/ 193 h 196"/>
                <a:gd name="T32" fmla="*/ 7 w 691"/>
                <a:gd name="T33" fmla="*/ 194 h 196"/>
                <a:gd name="T34" fmla="*/ 11 w 691"/>
                <a:gd name="T35" fmla="*/ 195 h 196"/>
                <a:gd name="T36" fmla="*/ 13 w 691"/>
                <a:gd name="T37" fmla="*/ 196 h 196"/>
                <a:gd name="T38" fmla="*/ 16 w 691"/>
                <a:gd name="T39" fmla="*/ 196 h 196"/>
                <a:gd name="T40" fmla="*/ 19 w 691"/>
                <a:gd name="T41" fmla="*/ 195 h 196"/>
                <a:gd name="T42" fmla="*/ 21 w 691"/>
                <a:gd name="T43" fmla="*/ 194 h 196"/>
                <a:gd name="T44" fmla="*/ 24 w 691"/>
                <a:gd name="T45" fmla="*/ 193 h 196"/>
                <a:gd name="T46" fmla="*/ 215 w 691"/>
                <a:gd name="T47" fmla="*/ 31 h 196"/>
                <a:gd name="T48" fmla="*/ 475 w 691"/>
                <a:gd name="T49" fmla="*/ 31 h 196"/>
                <a:gd name="T50" fmla="*/ 667 w 691"/>
                <a:gd name="T51" fmla="*/ 193 h 196"/>
                <a:gd name="T52" fmla="*/ 671 w 691"/>
                <a:gd name="T53" fmla="*/ 195 h 196"/>
                <a:gd name="T54" fmla="*/ 676 w 691"/>
                <a:gd name="T55" fmla="*/ 196 h 196"/>
                <a:gd name="T56" fmla="*/ 680 w 691"/>
                <a:gd name="T57" fmla="*/ 196 h 196"/>
                <a:gd name="T58" fmla="*/ 683 w 691"/>
                <a:gd name="T59" fmla="*/ 195 h 196"/>
                <a:gd name="T60" fmla="*/ 685 w 691"/>
                <a:gd name="T61" fmla="*/ 193 h 196"/>
                <a:gd name="T62" fmla="*/ 688 w 691"/>
                <a:gd name="T63" fmla="*/ 191 h 196"/>
                <a:gd name="T64" fmla="*/ 689 w 691"/>
                <a:gd name="T65" fmla="*/ 189 h 196"/>
                <a:gd name="T66" fmla="*/ 690 w 691"/>
                <a:gd name="T67" fmla="*/ 186 h 196"/>
                <a:gd name="T68" fmla="*/ 691 w 691"/>
                <a:gd name="T69" fmla="*/ 182 h 196"/>
                <a:gd name="T70" fmla="*/ 691 w 691"/>
                <a:gd name="T71" fmla="*/ 180 h 196"/>
                <a:gd name="T72" fmla="*/ 690 w 691"/>
                <a:gd name="T73" fmla="*/ 177 h 196"/>
                <a:gd name="T74" fmla="*/ 689 w 691"/>
                <a:gd name="T75" fmla="*/ 174 h 196"/>
                <a:gd name="T76" fmla="*/ 688 w 691"/>
                <a:gd name="T77" fmla="*/ 172 h 196"/>
                <a:gd name="T78" fmla="*/ 686 w 691"/>
                <a:gd name="T79" fmla="*/ 170 h 196"/>
                <a:gd name="T80" fmla="*/ 491 w 691"/>
                <a:gd name="T81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1" h="196">
                  <a:moveTo>
                    <a:pt x="491" y="4"/>
                  </a:moveTo>
                  <a:lnTo>
                    <a:pt x="486" y="1"/>
                  </a:lnTo>
                  <a:lnTo>
                    <a:pt x="481" y="0"/>
                  </a:lnTo>
                  <a:lnTo>
                    <a:pt x="210" y="0"/>
                  </a:lnTo>
                  <a:lnTo>
                    <a:pt x="205" y="1"/>
                  </a:lnTo>
                  <a:lnTo>
                    <a:pt x="200" y="4"/>
                  </a:lnTo>
                  <a:lnTo>
                    <a:pt x="4" y="170"/>
                  </a:lnTo>
                  <a:lnTo>
                    <a:pt x="2" y="172"/>
                  </a:lnTo>
                  <a:lnTo>
                    <a:pt x="1" y="174"/>
                  </a:lnTo>
                  <a:lnTo>
                    <a:pt x="0" y="177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0" y="186"/>
                  </a:lnTo>
                  <a:lnTo>
                    <a:pt x="1" y="189"/>
                  </a:lnTo>
                  <a:lnTo>
                    <a:pt x="3" y="191"/>
                  </a:lnTo>
                  <a:lnTo>
                    <a:pt x="5" y="193"/>
                  </a:lnTo>
                  <a:lnTo>
                    <a:pt x="7" y="194"/>
                  </a:lnTo>
                  <a:lnTo>
                    <a:pt x="11" y="195"/>
                  </a:lnTo>
                  <a:lnTo>
                    <a:pt x="13" y="196"/>
                  </a:lnTo>
                  <a:lnTo>
                    <a:pt x="16" y="196"/>
                  </a:lnTo>
                  <a:lnTo>
                    <a:pt x="19" y="195"/>
                  </a:lnTo>
                  <a:lnTo>
                    <a:pt x="21" y="194"/>
                  </a:lnTo>
                  <a:lnTo>
                    <a:pt x="24" y="193"/>
                  </a:lnTo>
                  <a:lnTo>
                    <a:pt x="215" y="31"/>
                  </a:lnTo>
                  <a:lnTo>
                    <a:pt x="475" y="31"/>
                  </a:lnTo>
                  <a:lnTo>
                    <a:pt x="667" y="193"/>
                  </a:lnTo>
                  <a:lnTo>
                    <a:pt x="671" y="195"/>
                  </a:lnTo>
                  <a:lnTo>
                    <a:pt x="676" y="196"/>
                  </a:lnTo>
                  <a:lnTo>
                    <a:pt x="680" y="196"/>
                  </a:lnTo>
                  <a:lnTo>
                    <a:pt x="683" y="195"/>
                  </a:lnTo>
                  <a:lnTo>
                    <a:pt x="685" y="193"/>
                  </a:lnTo>
                  <a:lnTo>
                    <a:pt x="688" y="191"/>
                  </a:lnTo>
                  <a:lnTo>
                    <a:pt x="689" y="189"/>
                  </a:lnTo>
                  <a:lnTo>
                    <a:pt x="690" y="186"/>
                  </a:lnTo>
                  <a:lnTo>
                    <a:pt x="691" y="182"/>
                  </a:lnTo>
                  <a:lnTo>
                    <a:pt x="691" y="180"/>
                  </a:lnTo>
                  <a:lnTo>
                    <a:pt x="690" y="177"/>
                  </a:lnTo>
                  <a:lnTo>
                    <a:pt x="689" y="174"/>
                  </a:lnTo>
                  <a:lnTo>
                    <a:pt x="688" y="172"/>
                  </a:lnTo>
                  <a:lnTo>
                    <a:pt x="686" y="170"/>
                  </a:lnTo>
                  <a:lnTo>
                    <a:pt x="491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">
              <a:extLst>
                <a:ext uri="{FF2B5EF4-FFF2-40B4-BE49-F238E27FC236}">
                  <a16:creationId xmlns:a16="http://schemas.microsoft.com/office/drawing/2014/main" id="{00F722FB-81F0-40B7-97E9-2B2D079D7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528888"/>
              <a:ext cx="33338" cy="11113"/>
            </a:xfrm>
            <a:custGeom>
              <a:avLst/>
              <a:gdLst>
                <a:gd name="T0" fmla="*/ 15 w 105"/>
                <a:gd name="T1" fmla="*/ 31 h 31"/>
                <a:gd name="T2" fmla="*/ 90 w 105"/>
                <a:gd name="T3" fmla="*/ 31 h 31"/>
                <a:gd name="T4" fmla="*/ 93 w 105"/>
                <a:gd name="T5" fmla="*/ 30 h 31"/>
                <a:gd name="T6" fmla="*/ 95 w 105"/>
                <a:gd name="T7" fmla="*/ 29 h 31"/>
                <a:gd name="T8" fmla="*/ 99 w 105"/>
                <a:gd name="T9" fmla="*/ 28 h 31"/>
                <a:gd name="T10" fmla="*/ 101 w 105"/>
                <a:gd name="T11" fmla="*/ 25 h 31"/>
                <a:gd name="T12" fmla="*/ 103 w 105"/>
                <a:gd name="T13" fmla="*/ 23 h 31"/>
                <a:gd name="T14" fmla="*/ 104 w 105"/>
                <a:gd name="T15" fmla="*/ 21 h 31"/>
                <a:gd name="T16" fmla="*/ 105 w 105"/>
                <a:gd name="T17" fmla="*/ 18 h 31"/>
                <a:gd name="T18" fmla="*/ 105 w 105"/>
                <a:gd name="T19" fmla="*/ 15 h 31"/>
                <a:gd name="T20" fmla="*/ 105 w 105"/>
                <a:gd name="T21" fmla="*/ 13 h 31"/>
                <a:gd name="T22" fmla="*/ 104 w 105"/>
                <a:gd name="T23" fmla="*/ 9 h 31"/>
                <a:gd name="T24" fmla="*/ 103 w 105"/>
                <a:gd name="T25" fmla="*/ 7 h 31"/>
                <a:gd name="T26" fmla="*/ 101 w 105"/>
                <a:gd name="T27" fmla="*/ 5 h 31"/>
                <a:gd name="T28" fmla="*/ 99 w 105"/>
                <a:gd name="T29" fmla="*/ 3 h 31"/>
                <a:gd name="T30" fmla="*/ 95 w 105"/>
                <a:gd name="T31" fmla="*/ 2 h 31"/>
                <a:gd name="T32" fmla="*/ 93 w 105"/>
                <a:gd name="T33" fmla="*/ 1 h 31"/>
                <a:gd name="T34" fmla="*/ 90 w 105"/>
                <a:gd name="T35" fmla="*/ 0 h 31"/>
                <a:gd name="T36" fmla="*/ 15 w 105"/>
                <a:gd name="T37" fmla="*/ 0 h 31"/>
                <a:gd name="T38" fmla="*/ 12 w 105"/>
                <a:gd name="T39" fmla="*/ 1 h 31"/>
                <a:gd name="T40" fmla="*/ 8 w 105"/>
                <a:gd name="T41" fmla="*/ 2 h 31"/>
                <a:gd name="T42" fmla="*/ 6 w 105"/>
                <a:gd name="T43" fmla="*/ 3 h 31"/>
                <a:gd name="T44" fmla="*/ 4 w 105"/>
                <a:gd name="T45" fmla="*/ 5 h 31"/>
                <a:gd name="T46" fmla="*/ 2 w 105"/>
                <a:gd name="T47" fmla="*/ 7 h 31"/>
                <a:gd name="T48" fmla="*/ 1 w 105"/>
                <a:gd name="T49" fmla="*/ 9 h 31"/>
                <a:gd name="T50" fmla="*/ 0 w 105"/>
                <a:gd name="T51" fmla="*/ 13 h 31"/>
                <a:gd name="T52" fmla="*/ 0 w 105"/>
                <a:gd name="T53" fmla="*/ 15 h 31"/>
                <a:gd name="T54" fmla="*/ 0 w 105"/>
                <a:gd name="T55" fmla="*/ 18 h 31"/>
                <a:gd name="T56" fmla="*/ 1 w 105"/>
                <a:gd name="T57" fmla="*/ 21 h 31"/>
                <a:gd name="T58" fmla="*/ 2 w 105"/>
                <a:gd name="T59" fmla="*/ 23 h 31"/>
                <a:gd name="T60" fmla="*/ 4 w 105"/>
                <a:gd name="T61" fmla="*/ 25 h 31"/>
                <a:gd name="T62" fmla="*/ 6 w 105"/>
                <a:gd name="T63" fmla="*/ 28 h 31"/>
                <a:gd name="T64" fmla="*/ 8 w 105"/>
                <a:gd name="T65" fmla="*/ 29 h 31"/>
                <a:gd name="T66" fmla="*/ 12 w 105"/>
                <a:gd name="T67" fmla="*/ 30 h 31"/>
                <a:gd name="T68" fmla="*/ 15 w 105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31">
                  <a:moveTo>
                    <a:pt x="15" y="31"/>
                  </a:moveTo>
                  <a:lnTo>
                    <a:pt x="90" y="31"/>
                  </a:lnTo>
                  <a:lnTo>
                    <a:pt x="93" y="30"/>
                  </a:lnTo>
                  <a:lnTo>
                    <a:pt x="95" y="29"/>
                  </a:lnTo>
                  <a:lnTo>
                    <a:pt x="99" y="28"/>
                  </a:lnTo>
                  <a:lnTo>
                    <a:pt x="101" y="25"/>
                  </a:lnTo>
                  <a:lnTo>
                    <a:pt x="103" y="23"/>
                  </a:lnTo>
                  <a:lnTo>
                    <a:pt x="104" y="21"/>
                  </a:lnTo>
                  <a:lnTo>
                    <a:pt x="105" y="18"/>
                  </a:lnTo>
                  <a:lnTo>
                    <a:pt x="105" y="15"/>
                  </a:lnTo>
                  <a:lnTo>
                    <a:pt x="105" y="13"/>
                  </a:lnTo>
                  <a:lnTo>
                    <a:pt x="104" y="9"/>
                  </a:lnTo>
                  <a:lnTo>
                    <a:pt x="103" y="7"/>
                  </a:lnTo>
                  <a:lnTo>
                    <a:pt x="101" y="5"/>
                  </a:lnTo>
                  <a:lnTo>
                    <a:pt x="99" y="3"/>
                  </a:lnTo>
                  <a:lnTo>
                    <a:pt x="95" y="2"/>
                  </a:lnTo>
                  <a:lnTo>
                    <a:pt x="93" y="1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7">
              <a:extLst>
                <a:ext uri="{FF2B5EF4-FFF2-40B4-BE49-F238E27FC236}">
                  <a16:creationId xmlns:a16="http://schemas.microsoft.com/office/drawing/2014/main" id="{573073B9-E9DD-4B3E-97A6-303B8ACB8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213" y="2559050"/>
              <a:ext cx="90488" cy="9525"/>
            </a:xfrm>
            <a:custGeom>
              <a:avLst/>
              <a:gdLst>
                <a:gd name="T0" fmla="*/ 0 w 286"/>
                <a:gd name="T1" fmla="*/ 15 h 30"/>
                <a:gd name="T2" fmla="*/ 0 w 286"/>
                <a:gd name="T3" fmla="*/ 17 h 30"/>
                <a:gd name="T4" fmla="*/ 1 w 286"/>
                <a:gd name="T5" fmla="*/ 20 h 30"/>
                <a:gd name="T6" fmla="*/ 2 w 286"/>
                <a:gd name="T7" fmla="*/ 22 h 30"/>
                <a:gd name="T8" fmla="*/ 4 w 286"/>
                <a:gd name="T9" fmla="*/ 26 h 30"/>
                <a:gd name="T10" fmla="*/ 6 w 286"/>
                <a:gd name="T11" fmla="*/ 27 h 30"/>
                <a:gd name="T12" fmla="*/ 10 w 286"/>
                <a:gd name="T13" fmla="*/ 29 h 30"/>
                <a:gd name="T14" fmla="*/ 12 w 286"/>
                <a:gd name="T15" fmla="*/ 29 h 30"/>
                <a:gd name="T16" fmla="*/ 15 w 286"/>
                <a:gd name="T17" fmla="*/ 30 h 30"/>
                <a:gd name="T18" fmla="*/ 271 w 286"/>
                <a:gd name="T19" fmla="*/ 30 h 30"/>
                <a:gd name="T20" fmla="*/ 273 w 286"/>
                <a:gd name="T21" fmla="*/ 29 h 30"/>
                <a:gd name="T22" fmla="*/ 277 w 286"/>
                <a:gd name="T23" fmla="*/ 29 h 30"/>
                <a:gd name="T24" fmla="*/ 279 w 286"/>
                <a:gd name="T25" fmla="*/ 27 h 30"/>
                <a:gd name="T26" fmla="*/ 281 w 286"/>
                <a:gd name="T27" fmla="*/ 26 h 30"/>
                <a:gd name="T28" fmla="*/ 283 w 286"/>
                <a:gd name="T29" fmla="*/ 22 h 30"/>
                <a:gd name="T30" fmla="*/ 285 w 286"/>
                <a:gd name="T31" fmla="*/ 20 h 30"/>
                <a:gd name="T32" fmla="*/ 285 w 286"/>
                <a:gd name="T33" fmla="*/ 17 h 30"/>
                <a:gd name="T34" fmla="*/ 286 w 286"/>
                <a:gd name="T35" fmla="*/ 15 h 30"/>
                <a:gd name="T36" fmla="*/ 285 w 286"/>
                <a:gd name="T37" fmla="*/ 12 h 30"/>
                <a:gd name="T38" fmla="*/ 285 w 286"/>
                <a:gd name="T39" fmla="*/ 8 h 30"/>
                <a:gd name="T40" fmla="*/ 283 w 286"/>
                <a:gd name="T41" fmla="*/ 6 h 30"/>
                <a:gd name="T42" fmla="*/ 281 w 286"/>
                <a:gd name="T43" fmla="*/ 4 h 30"/>
                <a:gd name="T44" fmla="*/ 279 w 286"/>
                <a:gd name="T45" fmla="*/ 2 h 30"/>
                <a:gd name="T46" fmla="*/ 277 w 286"/>
                <a:gd name="T47" fmla="*/ 1 h 30"/>
                <a:gd name="T48" fmla="*/ 273 w 286"/>
                <a:gd name="T49" fmla="*/ 0 h 30"/>
                <a:gd name="T50" fmla="*/ 271 w 286"/>
                <a:gd name="T51" fmla="*/ 0 h 30"/>
                <a:gd name="T52" fmla="*/ 15 w 286"/>
                <a:gd name="T53" fmla="*/ 0 h 30"/>
                <a:gd name="T54" fmla="*/ 12 w 286"/>
                <a:gd name="T55" fmla="*/ 0 h 30"/>
                <a:gd name="T56" fmla="*/ 10 w 286"/>
                <a:gd name="T57" fmla="*/ 1 h 30"/>
                <a:gd name="T58" fmla="*/ 6 w 286"/>
                <a:gd name="T59" fmla="*/ 2 h 30"/>
                <a:gd name="T60" fmla="*/ 4 w 286"/>
                <a:gd name="T61" fmla="*/ 4 h 30"/>
                <a:gd name="T62" fmla="*/ 2 w 286"/>
                <a:gd name="T63" fmla="*/ 6 h 30"/>
                <a:gd name="T64" fmla="*/ 1 w 286"/>
                <a:gd name="T65" fmla="*/ 8 h 30"/>
                <a:gd name="T66" fmla="*/ 0 w 286"/>
                <a:gd name="T67" fmla="*/ 12 h 30"/>
                <a:gd name="T68" fmla="*/ 0 w 286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6" h="30">
                  <a:moveTo>
                    <a:pt x="0" y="15"/>
                  </a:move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271" y="30"/>
                  </a:lnTo>
                  <a:lnTo>
                    <a:pt x="273" y="29"/>
                  </a:lnTo>
                  <a:lnTo>
                    <a:pt x="277" y="29"/>
                  </a:lnTo>
                  <a:lnTo>
                    <a:pt x="279" y="27"/>
                  </a:lnTo>
                  <a:lnTo>
                    <a:pt x="281" y="26"/>
                  </a:lnTo>
                  <a:lnTo>
                    <a:pt x="283" y="22"/>
                  </a:lnTo>
                  <a:lnTo>
                    <a:pt x="285" y="20"/>
                  </a:lnTo>
                  <a:lnTo>
                    <a:pt x="285" y="17"/>
                  </a:lnTo>
                  <a:lnTo>
                    <a:pt x="286" y="15"/>
                  </a:lnTo>
                  <a:lnTo>
                    <a:pt x="285" y="12"/>
                  </a:lnTo>
                  <a:lnTo>
                    <a:pt x="285" y="8"/>
                  </a:lnTo>
                  <a:lnTo>
                    <a:pt x="283" y="6"/>
                  </a:lnTo>
                  <a:lnTo>
                    <a:pt x="281" y="4"/>
                  </a:lnTo>
                  <a:lnTo>
                    <a:pt x="279" y="2"/>
                  </a:lnTo>
                  <a:lnTo>
                    <a:pt x="277" y="1"/>
                  </a:lnTo>
                  <a:lnTo>
                    <a:pt x="273" y="0"/>
                  </a:lnTo>
                  <a:lnTo>
                    <a:pt x="271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8">
              <a:extLst>
                <a:ext uri="{FF2B5EF4-FFF2-40B4-BE49-F238E27FC236}">
                  <a16:creationId xmlns:a16="http://schemas.microsoft.com/office/drawing/2014/main" id="{FAF64FC8-E98D-4277-BB75-A2C75A299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597150"/>
              <a:ext cx="114300" cy="9525"/>
            </a:xfrm>
            <a:custGeom>
              <a:avLst/>
              <a:gdLst>
                <a:gd name="T0" fmla="*/ 15 w 361"/>
                <a:gd name="T1" fmla="*/ 30 h 30"/>
                <a:gd name="T2" fmla="*/ 346 w 361"/>
                <a:gd name="T3" fmla="*/ 30 h 30"/>
                <a:gd name="T4" fmla="*/ 348 w 361"/>
                <a:gd name="T5" fmla="*/ 30 h 30"/>
                <a:gd name="T6" fmla="*/ 352 w 361"/>
                <a:gd name="T7" fmla="*/ 29 h 30"/>
                <a:gd name="T8" fmla="*/ 354 w 361"/>
                <a:gd name="T9" fmla="*/ 28 h 30"/>
                <a:gd name="T10" fmla="*/ 356 w 361"/>
                <a:gd name="T11" fmla="*/ 26 h 30"/>
                <a:gd name="T12" fmla="*/ 358 w 361"/>
                <a:gd name="T13" fmla="*/ 24 h 30"/>
                <a:gd name="T14" fmla="*/ 360 w 361"/>
                <a:gd name="T15" fmla="*/ 20 h 30"/>
                <a:gd name="T16" fmla="*/ 360 w 361"/>
                <a:gd name="T17" fmla="*/ 18 h 30"/>
                <a:gd name="T18" fmla="*/ 361 w 361"/>
                <a:gd name="T19" fmla="*/ 15 h 30"/>
                <a:gd name="T20" fmla="*/ 360 w 361"/>
                <a:gd name="T21" fmla="*/ 12 h 30"/>
                <a:gd name="T22" fmla="*/ 360 w 361"/>
                <a:gd name="T23" fmla="*/ 9 h 30"/>
                <a:gd name="T24" fmla="*/ 358 w 361"/>
                <a:gd name="T25" fmla="*/ 6 h 30"/>
                <a:gd name="T26" fmla="*/ 356 w 361"/>
                <a:gd name="T27" fmla="*/ 4 h 30"/>
                <a:gd name="T28" fmla="*/ 354 w 361"/>
                <a:gd name="T29" fmla="*/ 2 h 30"/>
                <a:gd name="T30" fmla="*/ 352 w 361"/>
                <a:gd name="T31" fmla="*/ 1 h 30"/>
                <a:gd name="T32" fmla="*/ 348 w 361"/>
                <a:gd name="T33" fmla="*/ 0 h 30"/>
                <a:gd name="T34" fmla="*/ 346 w 361"/>
                <a:gd name="T35" fmla="*/ 0 h 30"/>
                <a:gd name="T36" fmla="*/ 15 w 361"/>
                <a:gd name="T37" fmla="*/ 0 h 30"/>
                <a:gd name="T38" fmla="*/ 12 w 361"/>
                <a:gd name="T39" fmla="*/ 0 h 30"/>
                <a:gd name="T40" fmla="*/ 8 w 361"/>
                <a:gd name="T41" fmla="*/ 1 h 30"/>
                <a:gd name="T42" fmla="*/ 6 w 361"/>
                <a:gd name="T43" fmla="*/ 2 h 30"/>
                <a:gd name="T44" fmla="*/ 4 w 361"/>
                <a:gd name="T45" fmla="*/ 4 h 30"/>
                <a:gd name="T46" fmla="*/ 2 w 361"/>
                <a:gd name="T47" fmla="*/ 6 h 30"/>
                <a:gd name="T48" fmla="*/ 1 w 361"/>
                <a:gd name="T49" fmla="*/ 9 h 30"/>
                <a:gd name="T50" fmla="*/ 0 w 361"/>
                <a:gd name="T51" fmla="*/ 12 h 30"/>
                <a:gd name="T52" fmla="*/ 0 w 361"/>
                <a:gd name="T53" fmla="*/ 15 h 30"/>
                <a:gd name="T54" fmla="*/ 0 w 361"/>
                <a:gd name="T55" fmla="*/ 18 h 30"/>
                <a:gd name="T56" fmla="*/ 1 w 361"/>
                <a:gd name="T57" fmla="*/ 20 h 30"/>
                <a:gd name="T58" fmla="*/ 2 w 361"/>
                <a:gd name="T59" fmla="*/ 24 h 30"/>
                <a:gd name="T60" fmla="*/ 4 w 361"/>
                <a:gd name="T61" fmla="*/ 26 h 30"/>
                <a:gd name="T62" fmla="*/ 6 w 361"/>
                <a:gd name="T63" fmla="*/ 28 h 30"/>
                <a:gd name="T64" fmla="*/ 8 w 361"/>
                <a:gd name="T65" fmla="*/ 29 h 30"/>
                <a:gd name="T66" fmla="*/ 12 w 361"/>
                <a:gd name="T67" fmla="*/ 30 h 30"/>
                <a:gd name="T68" fmla="*/ 15 w 3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30">
                  <a:moveTo>
                    <a:pt x="15" y="30"/>
                  </a:moveTo>
                  <a:lnTo>
                    <a:pt x="346" y="30"/>
                  </a:lnTo>
                  <a:lnTo>
                    <a:pt x="348" y="30"/>
                  </a:lnTo>
                  <a:lnTo>
                    <a:pt x="352" y="29"/>
                  </a:lnTo>
                  <a:lnTo>
                    <a:pt x="354" y="28"/>
                  </a:lnTo>
                  <a:lnTo>
                    <a:pt x="356" y="26"/>
                  </a:lnTo>
                  <a:lnTo>
                    <a:pt x="358" y="24"/>
                  </a:lnTo>
                  <a:lnTo>
                    <a:pt x="360" y="20"/>
                  </a:lnTo>
                  <a:lnTo>
                    <a:pt x="360" y="18"/>
                  </a:lnTo>
                  <a:lnTo>
                    <a:pt x="361" y="15"/>
                  </a:lnTo>
                  <a:lnTo>
                    <a:pt x="360" y="12"/>
                  </a:lnTo>
                  <a:lnTo>
                    <a:pt x="360" y="9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4" y="2"/>
                  </a:lnTo>
                  <a:lnTo>
                    <a:pt x="352" y="1"/>
                  </a:lnTo>
                  <a:lnTo>
                    <a:pt x="348" y="0"/>
                  </a:lnTo>
                  <a:lnTo>
                    <a:pt x="3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D4FB07A6-FE67-424E-9B23-E3DE776FB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635250"/>
              <a:ext cx="114300" cy="9525"/>
            </a:xfrm>
            <a:custGeom>
              <a:avLst/>
              <a:gdLst>
                <a:gd name="T0" fmla="*/ 15 w 361"/>
                <a:gd name="T1" fmla="*/ 30 h 30"/>
                <a:gd name="T2" fmla="*/ 346 w 361"/>
                <a:gd name="T3" fmla="*/ 30 h 30"/>
                <a:gd name="T4" fmla="*/ 348 w 361"/>
                <a:gd name="T5" fmla="*/ 30 h 30"/>
                <a:gd name="T6" fmla="*/ 352 w 361"/>
                <a:gd name="T7" fmla="*/ 29 h 30"/>
                <a:gd name="T8" fmla="*/ 354 w 361"/>
                <a:gd name="T9" fmla="*/ 28 h 30"/>
                <a:gd name="T10" fmla="*/ 356 w 361"/>
                <a:gd name="T11" fmla="*/ 26 h 30"/>
                <a:gd name="T12" fmla="*/ 358 w 361"/>
                <a:gd name="T13" fmla="*/ 24 h 30"/>
                <a:gd name="T14" fmla="*/ 360 w 361"/>
                <a:gd name="T15" fmla="*/ 21 h 30"/>
                <a:gd name="T16" fmla="*/ 360 w 361"/>
                <a:gd name="T17" fmla="*/ 18 h 30"/>
                <a:gd name="T18" fmla="*/ 361 w 361"/>
                <a:gd name="T19" fmla="*/ 15 h 30"/>
                <a:gd name="T20" fmla="*/ 360 w 361"/>
                <a:gd name="T21" fmla="*/ 12 h 30"/>
                <a:gd name="T22" fmla="*/ 360 w 361"/>
                <a:gd name="T23" fmla="*/ 10 h 30"/>
                <a:gd name="T24" fmla="*/ 358 w 361"/>
                <a:gd name="T25" fmla="*/ 6 h 30"/>
                <a:gd name="T26" fmla="*/ 356 w 361"/>
                <a:gd name="T27" fmla="*/ 4 h 30"/>
                <a:gd name="T28" fmla="*/ 354 w 361"/>
                <a:gd name="T29" fmla="*/ 3 h 30"/>
                <a:gd name="T30" fmla="*/ 352 w 361"/>
                <a:gd name="T31" fmla="*/ 1 h 30"/>
                <a:gd name="T32" fmla="*/ 348 w 361"/>
                <a:gd name="T33" fmla="*/ 0 h 30"/>
                <a:gd name="T34" fmla="*/ 346 w 361"/>
                <a:gd name="T35" fmla="*/ 0 h 30"/>
                <a:gd name="T36" fmla="*/ 15 w 361"/>
                <a:gd name="T37" fmla="*/ 0 h 30"/>
                <a:gd name="T38" fmla="*/ 12 w 361"/>
                <a:gd name="T39" fmla="*/ 0 h 30"/>
                <a:gd name="T40" fmla="*/ 8 w 361"/>
                <a:gd name="T41" fmla="*/ 1 h 30"/>
                <a:gd name="T42" fmla="*/ 6 w 361"/>
                <a:gd name="T43" fmla="*/ 3 h 30"/>
                <a:gd name="T44" fmla="*/ 4 w 361"/>
                <a:gd name="T45" fmla="*/ 4 h 30"/>
                <a:gd name="T46" fmla="*/ 2 w 361"/>
                <a:gd name="T47" fmla="*/ 6 h 30"/>
                <a:gd name="T48" fmla="*/ 1 w 361"/>
                <a:gd name="T49" fmla="*/ 10 h 30"/>
                <a:gd name="T50" fmla="*/ 0 w 361"/>
                <a:gd name="T51" fmla="*/ 12 h 30"/>
                <a:gd name="T52" fmla="*/ 0 w 361"/>
                <a:gd name="T53" fmla="*/ 15 h 30"/>
                <a:gd name="T54" fmla="*/ 0 w 361"/>
                <a:gd name="T55" fmla="*/ 18 h 30"/>
                <a:gd name="T56" fmla="*/ 1 w 361"/>
                <a:gd name="T57" fmla="*/ 21 h 30"/>
                <a:gd name="T58" fmla="*/ 2 w 361"/>
                <a:gd name="T59" fmla="*/ 24 h 30"/>
                <a:gd name="T60" fmla="*/ 4 w 361"/>
                <a:gd name="T61" fmla="*/ 26 h 30"/>
                <a:gd name="T62" fmla="*/ 6 w 361"/>
                <a:gd name="T63" fmla="*/ 28 h 30"/>
                <a:gd name="T64" fmla="*/ 8 w 361"/>
                <a:gd name="T65" fmla="*/ 29 h 30"/>
                <a:gd name="T66" fmla="*/ 12 w 361"/>
                <a:gd name="T67" fmla="*/ 30 h 30"/>
                <a:gd name="T68" fmla="*/ 15 w 3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30">
                  <a:moveTo>
                    <a:pt x="15" y="30"/>
                  </a:moveTo>
                  <a:lnTo>
                    <a:pt x="346" y="30"/>
                  </a:lnTo>
                  <a:lnTo>
                    <a:pt x="348" y="30"/>
                  </a:lnTo>
                  <a:lnTo>
                    <a:pt x="352" y="29"/>
                  </a:lnTo>
                  <a:lnTo>
                    <a:pt x="354" y="28"/>
                  </a:lnTo>
                  <a:lnTo>
                    <a:pt x="356" y="26"/>
                  </a:lnTo>
                  <a:lnTo>
                    <a:pt x="358" y="24"/>
                  </a:lnTo>
                  <a:lnTo>
                    <a:pt x="360" y="21"/>
                  </a:lnTo>
                  <a:lnTo>
                    <a:pt x="360" y="18"/>
                  </a:lnTo>
                  <a:lnTo>
                    <a:pt x="361" y="15"/>
                  </a:lnTo>
                  <a:lnTo>
                    <a:pt x="360" y="12"/>
                  </a:lnTo>
                  <a:lnTo>
                    <a:pt x="360" y="10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4" y="3"/>
                  </a:lnTo>
                  <a:lnTo>
                    <a:pt x="352" y="1"/>
                  </a:lnTo>
                  <a:lnTo>
                    <a:pt x="348" y="0"/>
                  </a:lnTo>
                  <a:lnTo>
                    <a:pt x="3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" name="Freeform 122">
            <a:extLst>
              <a:ext uri="{FF2B5EF4-FFF2-40B4-BE49-F238E27FC236}">
                <a16:creationId xmlns:a16="http://schemas.microsoft.com/office/drawing/2014/main" id="{9780AA1C-EFC1-4167-88D7-7A27A6BA77FD}"/>
              </a:ext>
            </a:extLst>
          </p:cNvPr>
          <p:cNvSpPr>
            <a:spLocks noEditPoints="1"/>
          </p:cNvSpPr>
          <p:nvPr/>
        </p:nvSpPr>
        <p:spPr bwMode="auto">
          <a:xfrm>
            <a:off x="2090413" y="2593420"/>
            <a:ext cx="486054" cy="445774"/>
          </a:xfrm>
          <a:custGeom>
            <a:avLst/>
            <a:gdLst>
              <a:gd name="T0" fmla="*/ 376 w 907"/>
              <a:gd name="T1" fmla="*/ 508 h 827"/>
              <a:gd name="T2" fmla="*/ 866 w 907"/>
              <a:gd name="T3" fmla="*/ 58 h 827"/>
              <a:gd name="T4" fmla="*/ 366 w 907"/>
              <a:gd name="T5" fmla="*/ 758 h 827"/>
              <a:gd name="T6" fmla="*/ 466 w 907"/>
              <a:gd name="T7" fmla="*/ 590 h 827"/>
              <a:gd name="T8" fmla="*/ 819 w 907"/>
              <a:gd name="T9" fmla="*/ 61 h 827"/>
              <a:gd name="T10" fmla="*/ 55 w 907"/>
              <a:gd name="T11" fmla="*/ 375 h 827"/>
              <a:gd name="T12" fmla="*/ 907 w 907"/>
              <a:gd name="T13" fmla="*/ 15 h 827"/>
              <a:gd name="T14" fmla="*/ 906 w 907"/>
              <a:gd name="T15" fmla="*/ 12 h 827"/>
              <a:gd name="T16" fmla="*/ 906 w 907"/>
              <a:gd name="T17" fmla="*/ 11 h 827"/>
              <a:gd name="T18" fmla="*/ 905 w 907"/>
              <a:gd name="T19" fmla="*/ 8 h 827"/>
              <a:gd name="T20" fmla="*/ 905 w 907"/>
              <a:gd name="T21" fmla="*/ 6 h 827"/>
              <a:gd name="T22" fmla="*/ 904 w 907"/>
              <a:gd name="T23" fmla="*/ 5 h 827"/>
              <a:gd name="T24" fmla="*/ 902 w 907"/>
              <a:gd name="T25" fmla="*/ 3 h 827"/>
              <a:gd name="T26" fmla="*/ 900 w 907"/>
              <a:gd name="T27" fmla="*/ 2 h 827"/>
              <a:gd name="T28" fmla="*/ 900 w 907"/>
              <a:gd name="T29" fmla="*/ 2 h 827"/>
              <a:gd name="T30" fmla="*/ 897 w 907"/>
              <a:gd name="T31" fmla="*/ 1 h 827"/>
              <a:gd name="T32" fmla="*/ 895 w 907"/>
              <a:gd name="T33" fmla="*/ 0 h 827"/>
              <a:gd name="T34" fmla="*/ 893 w 907"/>
              <a:gd name="T35" fmla="*/ 0 h 827"/>
              <a:gd name="T36" fmla="*/ 891 w 907"/>
              <a:gd name="T37" fmla="*/ 0 h 827"/>
              <a:gd name="T38" fmla="*/ 887 w 907"/>
              <a:gd name="T39" fmla="*/ 1 h 827"/>
              <a:gd name="T40" fmla="*/ 886 w 907"/>
              <a:gd name="T41" fmla="*/ 1 h 827"/>
              <a:gd name="T42" fmla="*/ 886 w 907"/>
              <a:gd name="T43" fmla="*/ 1 h 827"/>
              <a:gd name="T44" fmla="*/ 5 w 907"/>
              <a:gd name="T45" fmla="*/ 365 h 827"/>
              <a:gd name="T46" fmla="*/ 1 w 907"/>
              <a:gd name="T47" fmla="*/ 372 h 827"/>
              <a:gd name="T48" fmla="*/ 1 w 907"/>
              <a:gd name="T49" fmla="*/ 381 h 827"/>
              <a:gd name="T50" fmla="*/ 5 w 907"/>
              <a:gd name="T51" fmla="*/ 388 h 827"/>
              <a:gd name="T52" fmla="*/ 336 w 907"/>
              <a:gd name="T53" fmla="*/ 521 h 827"/>
              <a:gd name="T54" fmla="*/ 336 w 907"/>
              <a:gd name="T55" fmla="*/ 817 h 827"/>
              <a:gd name="T56" fmla="*/ 342 w 907"/>
              <a:gd name="T57" fmla="*/ 825 h 827"/>
              <a:gd name="T58" fmla="*/ 348 w 907"/>
              <a:gd name="T59" fmla="*/ 827 h 827"/>
              <a:gd name="T60" fmla="*/ 354 w 907"/>
              <a:gd name="T61" fmla="*/ 827 h 827"/>
              <a:gd name="T62" fmla="*/ 360 w 907"/>
              <a:gd name="T63" fmla="*/ 823 h 827"/>
              <a:gd name="T64" fmla="*/ 492 w 907"/>
              <a:gd name="T65" fmla="*/ 605 h 827"/>
              <a:gd name="T66" fmla="*/ 732 w 907"/>
              <a:gd name="T67" fmla="*/ 732 h 827"/>
              <a:gd name="T68" fmla="*/ 739 w 907"/>
              <a:gd name="T69" fmla="*/ 732 h 827"/>
              <a:gd name="T70" fmla="*/ 745 w 907"/>
              <a:gd name="T71" fmla="*/ 729 h 827"/>
              <a:gd name="T72" fmla="*/ 749 w 907"/>
              <a:gd name="T73" fmla="*/ 724 h 827"/>
              <a:gd name="T74" fmla="*/ 906 w 907"/>
              <a:gd name="T75" fmla="*/ 18 h 827"/>
              <a:gd name="T76" fmla="*/ 906 w 907"/>
              <a:gd name="T77" fmla="*/ 17 h 827"/>
              <a:gd name="T78" fmla="*/ 907 w 907"/>
              <a:gd name="T79" fmla="*/ 15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07" h="827">
                <a:moveTo>
                  <a:pt x="726" y="695"/>
                </a:moveTo>
                <a:lnTo>
                  <a:pt x="376" y="508"/>
                </a:lnTo>
                <a:lnTo>
                  <a:pt x="834" y="88"/>
                </a:lnTo>
                <a:lnTo>
                  <a:pt x="866" y="58"/>
                </a:lnTo>
                <a:lnTo>
                  <a:pt x="726" y="695"/>
                </a:lnTo>
                <a:close/>
                <a:moveTo>
                  <a:pt x="366" y="758"/>
                </a:moveTo>
                <a:lnTo>
                  <a:pt x="366" y="536"/>
                </a:lnTo>
                <a:lnTo>
                  <a:pt x="466" y="590"/>
                </a:lnTo>
                <a:lnTo>
                  <a:pt x="366" y="758"/>
                </a:lnTo>
                <a:close/>
                <a:moveTo>
                  <a:pt x="819" y="61"/>
                </a:moveTo>
                <a:lnTo>
                  <a:pt x="347" y="493"/>
                </a:lnTo>
                <a:lnTo>
                  <a:pt x="55" y="375"/>
                </a:lnTo>
                <a:lnTo>
                  <a:pt x="819" y="61"/>
                </a:lnTo>
                <a:close/>
                <a:moveTo>
                  <a:pt x="907" y="15"/>
                </a:moveTo>
                <a:lnTo>
                  <a:pt x="907" y="14"/>
                </a:lnTo>
                <a:lnTo>
                  <a:pt x="906" y="12"/>
                </a:lnTo>
                <a:lnTo>
                  <a:pt x="906" y="12"/>
                </a:lnTo>
                <a:lnTo>
                  <a:pt x="906" y="11"/>
                </a:lnTo>
                <a:lnTo>
                  <a:pt x="905" y="9"/>
                </a:lnTo>
                <a:lnTo>
                  <a:pt x="905" y="8"/>
                </a:lnTo>
                <a:lnTo>
                  <a:pt x="905" y="8"/>
                </a:lnTo>
                <a:lnTo>
                  <a:pt x="905" y="6"/>
                </a:lnTo>
                <a:lnTo>
                  <a:pt x="904" y="6"/>
                </a:lnTo>
                <a:lnTo>
                  <a:pt x="904" y="5"/>
                </a:lnTo>
                <a:lnTo>
                  <a:pt x="903" y="4"/>
                </a:lnTo>
                <a:lnTo>
                  <a:pt x="902" y="3"/>
                </a:lnTo>
                <a:lnTo>
                  <a:pt x="901" y="3"/>
                </a:lnTo>
                <a:lnTo>
                  <a:pt x="900" y="2"/>
                </a:lnTo>
                <a:lnTo>
                  <a:pt x="900" y="2"/>
                </a:lnTo>
                <a:lnTo>
                  <a:pt x="900" y="2"/>
                </a:lnTo>
                <a:lnTo>
                  <a:pt x="898" y="1"/>
                </a:lnTo>
                <a:lnTo>
                  <a:pt x="897" y="1"/>
                </a:lnTo>
                <a:lnTo>
                  <a:pt x="896" y="1"/>
                </a:lnTo>
                <a:lnTo>
                  <a:pt x="895" y="0"/>
                </a:lnTo>
                <a:lnTo>
                  <a:pt x="894" y="0"/>
                </a:lnTo>
                <a:lnTo>
                  <a:pt x="893" y="0"/>
                </a:lnTo>
                <a:lnTo>
                  <a:pt x="892" y="0"/>
                </a:lnTo>
                <a:lnTo>
                  <a:pt x="891" y="0"/>
                </a:lnTo>
                <a:lnTo>
                  <a:pt x="889" y="0"/>
                </a:lnTo>
                <a:lnTo>
                  <a:pt x="887" y="1"/>
                </a:lnTo>
                <a:lnTo>
                  <a:pt x="887" y="1"/>
                </a:lnTo>
                <a:lnTo>
                  <a:pt x="886" y="1"/>
                </a:lnTo>
                <a:lnTo>
                  <a:pt x="886" y="1"/>
                </a:lnTo>
                <a:lnTo>
                  <a:pt x="886" y="1"/>
                </a:lnTo>
                <a:lnTo>
                  <a:pt x="10" y="362"/>
                </a:lnTo>
                <a:lnTo>
                  <a:pt x="5" y="365"/>
                </a:lnTo>
                <a:lnTo>
                  <a:pt x="2" y="368"/>
                </a:lnTo>
                <a:lnTo>
                  <a:pt x="1" y="372"/>
                </a:lnTo>
                <a:lnTo>
                  <a:pt x="0" y="376"/>
                </a:lnTo>
                <a:lnTo>
                  <a:pt x="1" y="381"/>
                </a:lnTo>
                <a:lnTo>
                  <a:pt x="2" y="384"/>
                </a:lnTo>
                <a:lnTo>
                  <a:pt x="5" y="388"/>
                </a:lnTo>
                <a:lnTo>
                  <a:pt x="10" y="390"/>
                </a:lnTo>
                <a:lnTo>
                  <a:pt x="336" y="521"/>
                </a:lnTo>
                <a:lnTo>
                  <a:pt x="336" y="812"/>
                </a:lnTo>
                <a:lnTo>
                  <a:pt x="336" y="817"/>
                </a:lnTo>
                <a:lnTo>
                  <a:pt x="338" y="821"/>
                </a:lnTo>
                <a:lnTo>
                  <a:pt x="342" y="825"/>
                </a:lnTo>
                <a:lnTo>
                  <a:pt x="346" y="827"/>
                </a:lnTo>
                <a:lnTo>
                  <a:pt x="348" y="827"/>
                </a:lnTo>
                <a:lnTo>
                  <a:pt x="351" y="827"/>
                </a:lnTo>
                <a:lnTo>
                  <a:pt x="354" y="827"/>
                </a:lnTo>
                <a:lnTo>
                  <a:pt x="357" y="826"/>
                </a:lnTo>
                <a:lnTo>
                  <a:pt x="360" y="823"/>
                </a:lnTo>
                <a:lnTo>
                  <a:pt x="363" y="820"/>
                </a:lnTo>
                <a:lnTo>
                  <a:pt x="492" y="605"/>
                </a:lnTo>
                <a:lnTo>
                  <a:pt x="729" y="730"/>
                </a:lnTo>
                <a:lnTo>
                  <a:pt x="732" y="732"/>
                </a:lnTo>
                <a:lnTo>
                  <a:pt x="736" y="732"/>
                </a:lnTo>
                <a:lnTo>
                  <a:pt x="739" y="732"/>
                </a:lnTo>
                <a:lnTo>
                  <a:pt x="742" y="731"/>
                </a:lnTo>
                <a:lnTo>
                  <a:pt x="745" y="729"/>
                </a:lnTo>
                <a:lnTo>
                  <a:pt x="747" y="727"/>
                </a:lnTo>
                <a:lnTo>
                  <a:pt x="749" y="724"/>
                </a:lnTo>
                <a:lnTo>
                  <a:pt x="751" y="721"/>
                </a:lnTo>
                <a:lnTo>
                  <a:pt x="906" y="18"/>
                </a:lnTo>
                <a:lnTo>
                  <a:pt x="906" y="17"/>
                </a:lnTo>
                <a:lnTo>
                  <a:pt x="906" y="17"/>
                </a:lnTo>
                <a:lnTo>
                  <a:pt x="907" y="16"/>
                </a:lnTo>
                <a:lnTo>
                  <a:pt x="907" y="15"/>
                </a:lnTo>
                <a:close/>
              </a:path>
            </a:pathLst>
          </a:custGeom>
          <a:solidFill>
            <a:srgbClr val="FF6B6B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0303BE-C9B4-4619-894D-F96E42AFB1F4}"/>
              </a:ext>
            </a:extLst>
          </p:cNvPr>
          <p:cNvGrpSpPr/>
          <p:nvPr/>
        </p:nvGrpSpPr>
        <p:grpSpPr>
          <a:xfrm>
            <a:off x="9615533" y="2574622"/>
            <a:ext cx="486054" cy="483368"/>
            <a:chOff x="11028363" y="2505076"/>
            <a:chExt cx="287337" cy="285750"/>
          </a:xfrm>
          <a:solidFill>
            <a:schemeClr val="tx1">
              <a:lumMod val="75000"/>
              <a:lumOff val="25000"/>
            </a:schemeClr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1" name="Freeform 340">
              <a:extLst>
                <a:ext uri="{FF2B5EF4-FFF2-40B4-BE49-F238E27FC236}">
                  <a16:creationId xmlns:a16="http://schemas.microsoft.com/office/drawing/2014/main" id="{03CE7C54-8619-433A-A84F-EADEEF325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2825" y="2649538"/>
              <a:ext cx="142875" cy="141288"/>
            </a:xfrm>
            <a:custGeom>
              <a:avLst/>
              <a:gdLst>
                <a:gd name="T0" fmla="*/ 359 w 450"/>
                <a:gd name="T1" fmla="*/ 164 h 446"/>
                <a:gd name="T2" fmla="*/ 285 w 450"/>
                <a:gd name="T3" fmla="*/ 90 h 446"/>
                <a:gd name="T4" fmla="*/ 340 w 450"/>
                <a:gd name="T5" fmla="*/ 36 h 446"/>
                <a:gd name="T6" fmla="*/ 414 w 450"/>
                <a:gd name="T7" fmla="*/ 110 h 446"/>
                <a:gd name="T8" fmla="*/ 359 w 450"/>
                <a:gd name="T9" fmla="*/ 164 h 446"/>
                <a:gd name="T10" fmla="*/ 63 w 450"/>
                <a:gd name="T11" fmla="*/ 327 h 446"/>
                <a:gd name="T12" fmla="*/ 122 w 450"/>
                <a:gd name="T13" fmla="*/ 386 h 446"/>
                <a:gd name="T14" fmla="*/ 37 w 450"/>
                <a:gd name="T15" fmla="*/ 410 h 446"/>
                <a:gd name="T16" fmla="*/ 63 w 450"/>
                <a:gd name="T17" fmla="*/ 327 h 446"/>
                <a:gd name="T18" fmla="*/ 151 w 450"/>
                <a:gd name="T19" fmla="*/ 372 h 446"/>
                <a:gd name="T20" fmla="*/ 78 w 450"/>
                <a:gd name="T21" fmla="*/ 299 h 446"/>
                <a:gd name="T22" fmla="*/ 264 w 450"/>
                <a:gd name="T23" fmla="*/ 112 h 446"/>
                <a:gd name="T24" fmla="*/ 338 w 450"/>
                <a:gd name="T25" fmla="*/ 185 h 446"/>
                <a:gd name="T26" fmla="*/ 151 w 450"/>
                <a:gd name="T27" fmla="*/ 372 h 446"/>
                <a:gd name="T28" fmla="*/ 446 w 450"/>
                <a:gd name="T29" fmla="*/ 99 h 446"/>
                <a:gd name="T30" fmla="*/ 351 w 450"/>
                <a:gd name="T31" fmla="*/ 4 h 446"/>
                <a:gd name="T32" fmla="*/ 348 w 450"/>
                <a:gd name="T33" fmla="*/ 3 h 446"/>
                <a:gd name="T34" fmla="*/ 345 w 450"/>
                <a:gd name="T35" fmla="*/ 1 h 446"/>
                <a:gd name="T36" fmla="*/ 343 w 450"/>
                <a:gd name="T37" fmla="*/ 0 h 446"/>
                <a:gd name="T38" fmla="*/ 340 w 450"/>
                <a:gd name="T39" fmla="*/ 0 h 446"/>
                <a:gd name="T40" fmla="*/ 338 w 450"/>
                <a:gd name="T41" fmla="*/ 0 h 446"/>
                <a:gd name="T42" fmla="*/ 335 w 450"/>
                <a:gd name="T43" fmla="*/ 1 h 446"/>
                <a:gd name="T44" fmla="*/ 332 w 450"/>
                <a:gd name="T45" fmla="*/ 3 h 446"/>
                <a:gd name="T46" fmla="*/ 329 w 450"/>
                <a:gd name="T47" fmla="*/ 4 h 446"/>
                <a:gd name="T48" fmla="*/ 46 w 450"/>
                <a:gd name="T49" fmla="*/ 289 h 446"/>
                <a:gd name="T50" fmla="*/ 44 w 450"/>
                <a:gd name="T51" fmla="*/ 291 h 446"/>
                <a:gd name="T52" fmla="*/ 42 w 450"/>
                <a:gd name="T53" fmla="*/ 294 h 446"/>
                <a:gd name="T54" fmla="*/ 41 w 450"/>
                <a:gd name="T55" fmla="*/ 294 h 446"/>
                <a:gd name="T56" fmla="*/ 41 w 450"/>
                <a:gd name="T57" fmla="*/ 294 h 446"/>
                <a:gd name="T58" fmla="*/ 0 w 450"/>
                <a:gd name="T59" fmla="*/ 427 h 446"/>
                <a:gd name="T60" fmla="*/ 0 w 450"/>
                <a:gd name="T61" fmla="*/ 431 h 446"/>
                <a:gd name="T62" fmla="*/ 0 w 450"/>
                <a:gd name="T63" fmla="*/ 436 h 446"/>
                <a:gd name="T64" fmla="*/ 1 w 450"/>
                <a:gd name="T65" fmla="*/ 439 h 446"/>
                <a:gd name="T66" fmla="*/ 4 w 450"/>
                <a:gd name="T67" fmla="*/ 442 h 446"/>
                <a:gd name="T68" fmla="*/ 6 w 450"/>
                <a:gd name="T69" fmla="*/ 444 h 446"/>
                <a:gd name="T70" fmla="*/ 8 w 450"/>
                <a:gd name="T71" fmla="*/ 445 h 446"/>
                <a:gd name="T72" fmla="*/ 11 w 450"/>
                <a:gd name="T73" fmla="*/ 446 h 446"/>
                <a:gd name="T74" fmla="*/ 15 w 450"/>
                <a:gd name="T75" fmla="*/ 446 h 446"/>
                <a:gd name="T76" fmla="*/ 17 w 450"/>
                <a:gd name="T77" fmla="*/ 446 h 446"/>
                <a:gd name="T78" fmla="*/ 18 w 450"/>
                <a:gd name="T79" fmla="*/ 446 h 446"/>
                <a:gd name="T80" fmla="*/ 155 w 450"/>
                <a:gd name="T81" fmla="*/ 409 h 446"/>
                <a:gd name="T82" fmla="*/ 155 w 450"/>
                <a:gd name="T83" fmla="*/ 409 h 446"/>
                <a:gd name="T84" fmla="*/ 156 w 450"/>
                <a:gd name="T85" fmla="*/ 409 h 446"/>
                <a:gd name="T86" fmla="*/ 156 w 450"/>
                <a:gd name="T87" fmla="*/ 408 h 446"/>
                <a:gd name="T88" fmla="*/ 157 w 450"/>
                <a:gd name="T89" fmla="*/ 408 h 446"/>
                <a:gd name="T90" fmla="*/ 159 w 450"/>
                <a:gd name="T91" fmla="*/ 407 h 446"/>
                <a:gd name="T92" fmla="*/ 161 w 450"/>
                <a:gd name="T93" fmla="*/ 405 h 446"/>
                <a:gd name="T94" fmla="*/ 446 w 450"/>
                <a:gd name="T95" fmla="*/ 120 h 446"/>
                <a:gd name="T96" fmla="*/ 447 w 450"/>
                <a:gd name="T97" fmla="*/ 118 h 446"/>
                <a:gd name="T98" fmla="*/ 449 w 450"/>
                <a:gd name="T99" fmla="*/ 116 h 446"/>
                <a:gd name="T100" fmla="*/ 449 w 450"/>
                <a:gd name="T101" fmla="*/ 113 h 446"/>
                <a:gd name="T102" fmla="*/ 450 w 450"/>
                <a:gd name="T103" fmla="*/ 110 h 446"/>
                <a:gd name="T104" fmla="*/ 449 w 450"/>
                <a:gd name="T105" fmla="*/ 107 h 446"/>
                <a:gd name="T106" fmla="*/ 449 w 450"/>
                <a:gd name="T107" fmla="*/ 104 h 446"/>
                <a:gd name="T108" fmla="*/ 447 w 450"/>
                <a:gd name="T109" fmla="*/ 102 h 446"/>
                <a:gd name="T110" fmla="*/ 446 w 450"/>
                <a:gd name="T111" fmla="*/ 99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0" h="446">
                  <a:moveTo>
                    <a:pt x="359" y="164"/>
                  </a:moveTo>
                  <a:lnTo>
                    <a:pt x="285" y="90"/>
                  </a:lnTo>
                  <a:lnTo>
                    <a:pt x="340" y="36"/>
                  </a:lnTo>
                  <a:lnTo>
                    <a:pt x="414" y="110"/>
                  </a:lnTo>
                  <a:lnTo>
                    <a:pt x="359" y="164"/>
                  </a:lnTo>
                  <a:close/>
                  <a:moveTo>
                    <a:pt x="63" y="327"/>
                  </a:moveTo>
                  <a:lnTo>
                    <a:pt x="122" y="386"/>
                  </a:lnTo>
                  <a:lnTo>
                    <a:pt x="37" y="410"/>
                  </a:lnTo>
                  <a:lnTo>
                    <a:pt x="63" y="327"/>
                  </a:lnTo>
                  <a:close/>
                  <a:moveTo>
                    <a:pt x="151" y="372"/>
                  </a:moveTo>
                  <a:lnTo>
                    <a:pt x="78" y="299"/>
                  </a:lnTo>
                  <a:lnTo>
                    <a:pt x="264" y="112"/>
                  </a:lnTo>
                  <a:lnTo>
                    <a:pt x="338" y="185"/>
                  </a:lnTo>
                  <a:lnTo>
                    <a:pt x="151" y="372"/>
                  </a:lnTo>
                  <a:close/>
                  <a:moveTo>
                    <a:pt x="446" y="99"/>
                  </a:moveTo>
                  <a:lnTo>
                    <a:pt x="351" y="4"/>
                  </a:lnTo>
                  <a:lnTo>
                    <a:pt x="348" y="3"/>
                  </a:lnTo>
                  <a:lnTo>
                    <a:pt x="345" y="1"/>
                  </a:lnTo>
                  <a:lnTo>
                    <a:pt x="343" y="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35" y="1"/>
                  </a:lnTo>
                  <a:lnTo>
                    <a:pt x="332" y="3"/>
                  </a:lnTo>
                  <a:lnTo>
                    <a:pt x="329" y="4"/>
                  </a:lnTo>
                  <a:lnTo>
                    <a:pt x="46" y="289"/>
                  </a:lnTo>
                  <a:lnTo>
                    <a:pt x="44" y="291"/>
                  </a:lnTo>
                  <a:lnTo>
                    <a:pt x="42" y="294"/>
                  </a:lnTo>
                  <a:lnTo>
                    <a:pt x="41" y="294"/>
                  </a:lnTo>
                  <a:lnTo>
                    <a:pt x="41" y="294"/>
                  </a:lnTo>
                  <a:lnTo>
                    <a:pt x="0" y="427"/>
                  </a:lnTo>
                  <a:lnTo>
                    <a:pt x="0" y="431"/>
                  </a:lnTo>
                  <a:lnTo>
                    <a:pt x="0" y="436"/>
                  </a:lnTo>
                  <a:lnTo>
                    <a:pt x="1" y="439"/>
                  </a:lnTo>
                  <a:lnTo>
                    <a:pt x="4" y="442"/>
                  </a:lnTo>
                  <a:lnTo>
                    <a:pt x="6" y="444"/>
                  </a:lnTo>
                  <a:lnTo>
                    <a:pt x="8" y="445"/>
                  </a:lnTo>
                  <a:lnTo>
                    <a:pt x="11" y="446"/>
                  </a:lnTo>
                  <a:lnTo>
                    <a:pt x="15" y="446"/>
                  </a:lnTo>
                  <a:lnTo>
                    <a:pt x="17" y="446"/>
                  </a:lnTo>
                  <a:lnTo>
                    <a:pt x="18" y="446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6" y="409"/>
                  </a:lnTo>
                  <a:lnTo>
                    <a:pt x="156" y="408"/>
                  </a:lnTo>
                  <a:lnTo>
                    <a:pt x="157" y="408"/>
                  </a:lnTo>
                  <a:lnTo>
                    <a:pt x="159" y="407"/>
                  </a:lnTo>
                  <a:lnTo>
                    <a:pt x="161" y="405"/>
                  </a:lnTo>
                  <a:lnTo>
                    <a:pt x="446" y="120"/>
                  </a:lnTo>
                  <a:lnTo>
                    <a:pt x="447" y="118"/>
                  </a:lnTo>
                  <a:lnTo>
                    <a:pt x="449" y="116"/>
                  </a:lnTo>
                  <a:lnTo>
                    <a:pt x="449" y="113"/>
                  </a:lnTo>
                  <a:lnTo>
                    <a:pt x="450" y="110"/>
                  </a:lnTo>
                  <a:lnTo>
                    <a:pt x="449" y="107"/>
                  </a:lnTo>
                  <a:lnTo>
                    <a:pt x="449" y="104"/>
                  </a:lnTo>
                  <a:lnTo>
                    <a:pt x="447" y="102"/>
                  </a:lnTo>
                  <a:lnTo>
                    <a:pt x="446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41">
              <a:extLst>
                <a:ext uri="{FF2B5EF4-FFF2-40B4-BE49-F238E27FC236}">
                  <a16:creationId xmlns:a16="http://schemas.microsoft.com/office/drawing/2014/main" id="{58F7DAFF-88C7-4698-A401-0E9514E8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8363" y="2505076"/>
              <a:ext cx="200025" cy="257175"/>
            </a:xfrm>
            <a:custGeom>
              <a:avLst/>
              <a:gdLst>
                <a:gd name="T0" fmla="*/ 251 w 630"/>
                <a:gd name="T1" fmla="*/ 88 h 811"/>
                <a:gd name="T2" fmla="*/ 257 w 630"/>
                <a:gd name="T3" fmla="*/ 75 h 811"/>
                <a:gd name="T4" fmla="*/ 263 w 630"/>
                <a:gd name="T5" fmla="*/ 52 h 811"/>
                <a:gd name="T6" fmla="*/ 291 w 630"/>
                <a:gd name="T7" fmla="*/ 33 h 811"/>
                <a:gd name="T8" fmla="*/ 354 w 630"/>
                <a:gd name="T9" fmla="*/ 37 h 811"/>
                <a:gd name="T10" fmla="*/ 375 w 630"/>
                <a:gd name="T11" fmla="*/ 56 h 811"/>
                <a:gd name="T12" fmla="*/ 379 w 630"/>
                <a:gd name="T13" fmla="*/ 78 h 811"/>
                <a:gd name="T14" fmla="*/ 388 w 630"/>
                <a:gd name="T15" fmla="*/ 89 h 811"/>
                <a:gd name="T16" fmla="*/ 180 w 630"/>
                <a:gd name="T17" fmla="*/ 240 h 811"/>
                <a:gd name="T18" fmla="*/ 54 w 630"/>
                <a:gd name="T19" fmla="*/ 779 h 811"/>
                <a:gd name="T20" fmla="*/ 30 w 630"/>
                <a:gd name="T21" fmla="*/ 748 h 811"/>
                <a:gd name="T22" fmla="*/ 75 w 630"/>
                <a:gd name="T23" fmla="*/ 180 h 811"/>
                <a:gd name="T24" fmla="*/ 62 w 630"/>
                <a:gd name="T25" fmla="*/ 187 h 811"/>
                <a:gd name="T26" fmla="*/ 60 w 630"/>
                <a:gd name="T27" fmla="*/ 740 h 811"/>
                <a:gd name="T28" fmla="*/ 69 w 630"/>
                <a:gd name="T29" fmla="*/ 750 h 811"/>
                <a:gd name="T30" fmla="*/ 362 w 630"/>
                <a:gd name="T31" fmla="*/ 750 h 811"/>
                <a:gd name="T32" fmla="*/ 370 w 630"/>
                <a:gd name="T33" fmla="*/ 740 h 811"/>
                <a:gd name="T34" fmla="*/ 366 w 630"/>
                <a:gd name="T35" fmla="*/ 726 h 811"/>
                <a:gd name="T36" fmla="*/ 90 w 630"/>
                <a:gd name="T37" fmla="*/ 721 h 811"/>
                <a:gd name="T38" fmla="*/ 151 w 630"/>
                <a:gd name="T39" fmla="*/ 261 h 811"/>
                <a:gd name="T40" fmla="*/ 162 w 630"/>
                <a:gd name="T41" fmla="*/ 270 h 811"/>
                <a:gd name="T42" fmla="*/ 474 w 630"/>
                <a:gd name="T43" fmla="*/ 268 h 811"/>
                <a:gd name="T44" fmla="*/ 481 w 630"/>
                <a:gd name="T45" fmla="*/ 256 h 811"/>
                <a:gd name="T46" fmla="*/ 542 w 630"/>
                <a:gd name="T47" fmla="*/ 366 h 811"/>
                <a:gd name="T48" fmla="*/ 552 w 630"/>
                <a:gd name="T49" fmla="*/ 376 h 811"/>
                <a:gd name="T50" fmla="*/ 566 w 630"/>
                <a:gd name="T51" fmla="*/ 371 h 811"/>
                <a:gd name="T52" fmla="*/ 570 w 630"/>
                <a:gd name="T53" fmla="*/ 195 h 811"/>
                <a:gd name="T54" fmla="*/ 564 w 630"/>
                <a:gd name="T55" fmla="*/ 183 h 811"/>
                <a:gd name="T56" fmla="*/ 481 w 630"/>
                <a:gd name="T57" fmla="*/ 150 h 811"/>
                <a:gd name="T58" fmla="*/ 603 w 630"/>
                <a:gd name="T59" fmla="*/ 365 h 811"/>
                <a:gd name="T60" fmla="*/ 615 w 630"/>
                <a:gd name="T61" fmla="*/ 371 h 811"/>
                <a:gd name="T62" fmla="*/ 628 w 630"/>
                <a:gd name="T63" fmla="*/ 365 h 811"/>
                <a:gd name="T64" fmla="*/ 630 w 630"/>
                <a:gd name="T65" fmla="*/ 133 h 811"/>
                <a:gd name="T66" fmla="*/ 622 w 630"/>
                <a:gd name="T67" fmla="*/ 121 h 811"/>
                <a:gd name="T68" fmla="*/ 480 w 630"/>
                <a:gd name="T69" fmla="*/ 72 h 811"/>
                <a:gd name="T70" fmla="*/ 471 w 630"/>
                <a:gd name="T71" fmla="*/ 61 h 811"/>
                <a:gd name="T72" fmla="*/ 400 w 630"/>
                <a:gd name="T73" fmla="*/ 41 h 811"/>
                <a:gd name="T74" fmla="*/ 380 w 630"/>
                <a:gd name="T75" fmla="*/ 17 h 811"/>
                <a:gd name="T76" fmla="*/ 340 w 630"/>
                <a:gd name="T77" fmla="*/ 1 h 811"/>
                <a:gd name="T78" fmla="*/ 285 w 630"/>
                <a:gd name="T79" fmla="*/ 3 h 811"/>
                <a:gd name="T80" fmla="*/ 249 w 630"/>
                <a:gd name="T81" fmla="*/ 22 h 811"/>
                <a:gd name="T82" fmla="*/ 231 w 630"/>
                <a:gd name="T83" fmla="*/ 52 h 811"/>
                <a:gd name="T84" fmla="*/ 156 w 630"/>
                <a:gd name="T85" fmla="*/ 63 h 811"/>
                <a:gd name="T86" fmla="*/ 150 w 630"/>
                <a:gd name="T87" fmla="*/ 75 h 811"/>
                <a:gd name="T88" fmla="*/ 7 w 630"/>
                <a:gd name="T89" fmla="*/ 123 h 811"/>
                <a:gd name="T90" fmla="*/ 0 w 630"/>
                <a:gd name="T91" fmla="*/ 135 h 811"/>
                <a:gd name="T92" fmla="*/ 4 w 630"/>
                <a:gd name="T93" fmla="*/ 770 h 811"/>
                <a:gd name="T94" fmla="*/ 24 w 630"/>
                <a:gd name="T95" fmla="*/ 797 h 811"/>
                <a:gd name="T96" fmla="*/ 57 w 630"/>
                <a:gd name="T97" fmla="*/ 810 h 811"/>
                <a:gd name="T98" fmla="*/ 380 w 630"/>
                <a:gd name="T99" fmla="*/ 810 h 811"/>
                <a:gd name="T100" fmla="*/ 390 w 630"/>
                <a:gd name="T101" fmla="*/ 800 h 811"/>
                <a:gd name="T102" fmla="*/ 385 w 630"/>
                <a:gd name="T103" fmla="*/ 786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0" h="811">
                  <a:moveTo>
                    <a:pt x="180" y="90"/>
                  </a:moveTo>
                  <a:lnTo>
                    <a:pt x="242" y="90"/>
                  </a:lnTo>
                  <a:lnTo>
                    <a:pt x="245" y="90"/>
                  </a:lnTo>
                  <a:lnTo>
                    <a:pt x="248" y="89"/>
                  </a:lnTo>
                  <a:lnTo>
                    <a:pt x="251" y="88"/>
                  </a:lnTo>
                  <a:lnTo>
                    <a:pt x="253" y="86"/>
                  </a:lnTo>
                  <a:lnTo>
                    <a:pt x="255" y="84"/>
                  </a:lnTo>
                  <a:lnTo>
                    <a:pt x="256" y="81"/>
                  </a:lnTo>
                  <a:lnTo>
                    <a:pt x="257" y="78"/>
                  </a:lnTo>
                  <a:lnTo>
                    <a:pt x="257" y="75"/>
                  </a:lnTo>
                  <a:lnTo>
                    <a:pt x="257" y="70"/>
                  </a:lnTo>
                  <a:lnTo>
                    <a:pt x="258" y="64"/>
                  </a:lnTo>
                  <a:lnTo>
                    <a:pt x="259" y="60"/>
                  </a:lnTo>
                  <a:lnTo>
                    <a:pt x="261" y="56"/>
                  </a:lnTo>
                  <a:lnTo>
                    <a:pt x="263" y="52"/>
                  </a:lnTo>
                  <a:lnTo>
                    <a:pt x="266" y="47"/>
                  </a:lnTo>
                  <a:lnTo>
                    <a:pt x="269" y="44"/>
                  </a:lnTo>
                  <a:lnTo>
                    <a:pt x="272" y="42"/>
                  </a:lnTo>
                  <a:lnTo>
                    <a:pt x="281" y="37"/>
                  </a:lnTo>
                  <a:lnTo>
                    <a:pt x="291" y="33"/>
                  </a:lnTo>
                  <a:lnTo>
                    <a:pt x="304" y="31"/>
                  </a:lnTo>
                  <a:lnTo>
                    <a:pt x="318" y="30"/>
                  </a:lnTo>
                  <a:lnTo>
                    <a:pt x="332" y="31"/>
                  </a:lnTo>
                  <a:lnTo>
                    <a:pt x="345" y="33"/>
                  </a:lnTo>
                  <a:lnTo>
                    <a:pt x="354" y="37"/>
                  </a:lnTo>
                  <a:lnTo>
                    <a:pt x="363" y="42"/>
                  </a:lnTo>
                  <a:lnTo>
                    <a:pt x="367" y="44"/>
                  </a:lnTo>
                  <a:lnTo>
                    <a:pt x="370" y="47"/>
                  </a:lnTo>
                  <a:lnTo>
                    <a:pt x="373" y="52"/>
                  </a:lnTo>
                  <a:lnTo>
                    <a:pt x="375" y="56"/>
                  </a:lnTo>
                  <a:lnTo>
                    <a:pt x="377" y="60"/>
                  </a:lnTo>
                  <a:lnTo>
                    <a:pt x="378" y="64"/>
                  </a:lnTo>
                  <a:lnTo>
                    <a:pt x="378" y="70"/>
                  </a:lnTo>
                  <a:lnTo>
                    <a:pt x="379" y="75"/>
                  </a:lnTo>
                  <a:lnTo>
                    <a:pt x="379" y="78"/>
                  </a:lnTo>
                  <a:lnTo>
                    <a:pt x="380" y="81"/>
                  </a:lnTo>
                  <a:lnTo>
                    <a:pt x="381" y="84"/>
                  </a:lnTo>
                  <a:lnTo>
                    <a:pt x="383" y="86"/>
                  </a:lnTo>
                  <a:lnTo>
                    <a:pt x="385" y="88"/>
                  </a:lnTo>
                  <a:lnTo>
                    <a:pt x="388" y="89"/>
                  </a:lnTo>
                  <a:lnTo>
                    <a:pt x="391" y="90"/>
                  </a:lnTo>
                  <a:lnTo>
                    <a:pt x="394" y="90"/>
                  </a:lnTo>
                  <a:lnTo>
                    <a:pt x="451" y="90"/>
                  </a:lnTo>
                  <a:lnTo>
                    <a:pt x="451" y="240"/>
                  </a:lnTo>
                  <a:lnTo>
                    <a:pt x="180" y="240"/>
                  </a:lnTo>
                  <a:lnTo>
                    <a:pt x="180" y="90"/>
                  </a:lnTo>
                  <a:close/>
                  <a:moveTo>
                    <a:pt x="375" y="781"/>
                  </a:moveTo>
                  <a:lnTo>
                    <a:pt x="75" y="781"/>
                  </a:lnTo>
                  <a:lnTo>
                    <a:pt x="63" y="780"/>
                  </a:lnTo>
                  <a:lnTo>
                    <a:pt x="54" y="779"/>
                  </a:lnTo>
                  <a:lnTo>
                    <a:pt x="46" y="776"/>
                  </a:lnTo>
                  <a:lnTo>
                    <a:pt x="40" y="772"/>
                  </a:lnTo>
                  <a:lnTo>
                    <a:pt x="35" y="765"/>
                  </a:lnTo>
                  <a:lnTo>
                    <a:pt x="32" y="758"/>
                  </a:lnTo>
                  <a:lnTo>
                    <a:pt x="30" y="748"/>
                  </a:lnTo>
                  <a:lnTo>
                    <a:pt x="30" y="736"/>
                  </a:lnTo>
                  <a:lnTo>
                    <a:pt x="30" y="150"/>
                  </a:lnTo>
                  <a:lnTo>
                    <a:pt x="150" y="150"/>
                  </a:lnTo>
                  <a:lnTo>
                    <a:pt x="150" y="180"/>
                  </a:lnTo>
                  <a:lnTo>
                    <a:pt x="75" y="180"/>
                  </a:lnTo>
                  <a:lnTo>
                    <a:pt x="72" y="181"/>
                  </a:lnTo>
                  <a:lnTo>
                    <a:pt x="69" y="182"/>
                  </a:lnTo>
                  <a:lnTo>
                    <a:pt x="67" y="183"/>
                  </a:lnTo>
                  <a:lnTo>
                    <a:pt x="64" y="185"/>
                  </a:lnTo>
                  <a:lnTo>
                    <a:pt x="62" y="187"/>
                  </a:lnTo>
                  <a:lnTo>
                    <a:pt x="61" y="190"/>
                  </a:lnTo>
                  <a:lnTo>
                    <a:pt x="60" y="193"/>
                  </a:lnTo>
                  <a:lnTo>
                    <a:pt x="60" y="195"/>
                  </a:lnTo>
                  <a:lnTo>
                    <a:pt x="60" y="736"/>
                  </a:lnTo>
                  <a:lnTo>
                    <a:pt x="60" y="740"/>
                  </a:lnTo>
                  <a:lnTo>
                    <a:pt x="61" y="742"/>
                  </a:lnTo>
                  <a:lnTo>
                    <a:pt x="62" y="745"/>
                  </a:lnTo>
                  <a:lnTo>
                    <a:pt x="64" y="747"/>
                  </a:lnTo>
                  <a:lnTo>
                    <a:pt x="67" y="748"/>
                  </a:lnTo>
                  <a:lnTo>
                    <a:pt x="69" y="750"/>
                  </a:lnTo>
                  <a:lnTo>
                    <a:pt x="72" y="750"/>
                  </a:lnTo>
                  <a:lnTo>
                    <a:pt x="75" y="751"/>
                  </a:lnTo>
                  <a:lnTo>
                    <a:pt x="355" y="751"/>
                  </a:lnTo>
                  <a:lnTo>
                    <a:pt x="359" y="750"/>
                  </a:lnTo>
                  <a:lnTo>
                    <a:pt x="362" y="750"/>
                  </a:lnTo>
                  <a:lnTo>
                    <a:pt x="364" y="748"/>
                  </a:lnTo>
                  <a:lnTo>
                    <a:pt x="366" y="747"/>
                  </a:lnTo>
                  <a:lnTo>
                    <a:pt x="368" y="745"/>
                  </a:lnTo>
                  <a:lnTo>
                    <a:pt x="369" y="742"/>
                  </a:lnTo>
                  <a:lnTo>
                    <a:pt x="370" y="740"/>
                  </a:lnTo>
                  <a:lnTo>
                    <a:pt x="370" y="736"/>
                  </a:lnTo>
                  <a:lnTo>
                    <a:pt x="370" y="733"/>
                  </a:lnTo>
                  <a:lnTo>
                    <a:pt x="369" y="730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4" y="724"/>
                  </a:lnTo>
                  <a:lnTo>
                    <a:pt x="362" y="723"/>
                  </a:lnTo>
                  <a:lnTo>
                    <a:pt x="359" y="721"/>
                  </a:lnTo>
                  <a:lnTo>
                    <a:pt x="355" y="721"/>
                  </a:lnTo>
                  <a:lnTo>
                    <a:pt x="90" y="721"/>
                  </a:lnTo>
                  <a:lnTo>
                    <a:pt x="90" y="210"/>
                  </a:lnTo>
                  <a:lnTo>
                    <a:pt x="150" y="210"/>
                  </a:lnTo>
                  <a:lnTo>
                    <a:pt x="150" y="256"/>
                  </a:lnTo>
                  <a:lnTo>
                    <a:pt x="150" y="259"/>
                  </a:lnTo>
                  <a:lnTo>
                    <a:pt x="151" y="261"/>
                  </a:lnTo>
                  <a:lnTo>
                    <a:pt x="152" y="264"/>
                  </a:lnTo>
                  <a:lnTo>
                    <a:pt x="154" y="267"/>
                  </a:lnTo>
                  <a:lnTo>
                    <a:pt x="156" y="268"/>
                  </a:lnTo>
                  <a:lnTo>
                    <a:pt x="160" y="270"/>
                  </a:lnTo>
                  <a:lnTo>
                    <a:pt x="162" y="270"/>
                  </a:lnTo>
                  <a:lnTo>
                    <a:pt x="165" y="271"/>
                  </a:lnTo>
                  <a:lnTo>
                    <a:pt x="466" y="271"/>
                  </a:lnTo>
                  <a:lnTo>
                    <a:pt x="469" y="270"/>
                  </a:lnTo>
                  <a:lnTo>
                    <a:pt x="471" y="270"/>
                  </a:lnTo>
                  <a:lnTo>
                    <a:pt x="474" y="268"/>
                  </a:lnTo>
                  <a:lnTo>
                    <a:pt x="476" y="267"/>
                  </a:lnTo>
                  <a:lnTo>
                    <a:pt x="477" y="264"/>
                  </a:lnTo>
                  <a:lnTo>
                    <a:pt x="480" y="261"/>
                  </a:lnTo>
                  <a:lnTo>
                    <a:pt x="480" y="259"/>
                  </a:lnTo>
                  <a:lnTo>
                    <a:pt x="481" y="256"/>
                  </a:lnTo>
                  <a:lnTo>
                    <a:pt x="481" y="210"/>
                  </a:lnTo>
                  <a:lnTo>
                    <a:pt x="541" y="210"/>
                  </a:lnTo>
                  <a:lnTo>
                    <a:pt x="541" y="361"/>
                  </a:lnTo>
                  <a:lnTo>
                    <a:pt x="541" y="364"/>
                  </a:lnTo>
                  <a:lnTo>
                    <a:pt x="542" y="366"/>
                  </a:lnTo>
                  <a:lnTo>
                    <a:pt x="543" y="369"/>
                  </a:lnTo>
                  <a:lnTo>
                    <a:pt x="545" y="371"/>
                  </a:lnTo>
                  <a:lnTo>
                    <a:pt x="547" y="374"/>
                  </a:lnTo>
                  <a:lnTo>
                    <a:pt x="549" y="375"/>
                  </a:lnTo>
                  <a:lnTo>
                    <a:pt x="552" y="376"/>
                  </a:lnTo>
                  <a:lnTo>
                    <a:pt x="556" y="376"/>
                  </a:lnTo>
                  <a:lnTo>
                    <a:pt x="559" y="376"/>
                  </a:lnTo>
                  <a:lnTo>
                    <a:pt x="561" y="375"/>
                  </a:lnTo>
                  <a:lnTo>
                    <a:pt x="564" y="374"/>
                  </a:lnTo>
                  <a:lnTo>
                    <a:pt x="566" y="371"/>
                  </a:lnTo>
                  <a:lnTo>
                    <a:pt x="568" y="369"/>
                  </a:lnTo>
                  <a:lnTo>
                    <a:pt x="569" y="367"/>
                  </a:lnTo>
                  <a:lnTo>
                    <a:pt x="570" y="364"/>
                  </a:lnTo>
                  <a:lnTo>
                    <a:pt x="570" y="361"/>
                  </a:lnTo>
                  <a:lnTo>
                    <a:pt x="570" y="195"/>
                  </a:lnTo>
                  <a:lnTo>
                    <a:pt x="570" y="193"/>
                  </a:lnTo>
                  <a:lnTo>
                    <a:pt x="569" y="190"/>
                  </a:lnTo>
                  <a:lnTo>
                    <a:pt x="568" y="187"/>
                  </a:lnTo>
                  <a:lnTo>
                    <a:pt x="566" y="185"/>
                  </a:lnTo>
                  <a:lnTo>
                    <a:pt x="564" y="183"/>
                  </a:lnTo>
                  <a:lnTo>
                    <a:pt x="561" y="182"/>
                  </a:lnTo>
                  <a:lnTo>
                    <a:pt x="559" y="181"/>
                  </a:lnTo>
                  <a:lnTo>
                    <a:pt x="556" y="180"/>
                  </a:lnTo>
                  <a:lnTo>
                    <a:pt x="481" y="180"/>
                  </a:lnTo>
                  <a:lnTo>
                    <a:pt x="481" y="150"/>
                  </a:lnTo>
                  <a:lnTo>
                    <a:pt x="600" y="150"/>
                  </a:lnTo>
                  <a:lnTo>
                    <a:pt x="600" y="357"/>
                  </a:lnTo>
                  <a:lnTo>
                    <a:pt x="600" y="360"/>
                  </a:lnTo>
                  <a:lnTo>
                    <a:pt x="602" y="362"/>
                  </a:lnTo>
                  <a:lnTo>
                    <a:pt x="603" y="365"/>
                  </a:lnTo>
                  <a:lnTo>
                    <a:pt x="605" y="367"/>
                  </a:lnTo>
                  <a:lnTo>
                    <a:pt x="607" y="368"/>
                  </a:lnTo>
                  <a:lnTo>
                    <a:pt x="610" y="370"/>
                  </a:lnTo>
                  <a:lnTo>
                    <a:pt x="612" y="370"/>
                  </a:lnTo>
                  <a:lnTo>
                    <a:pt x="615" y="371"/>
                  </a:lnTo>
                  <a:lnTo>
                    <a:pt x="619" y="370"/>
                  </a:lnTo>
                  <a:lnTo>
                    <a:pt x="622" y="370"/>
                  </a:lnTo>
                  <a:lnTo>
                    <a:pt x="624" y="368"/>
                  </a:lnTo>
                  <a:lnTo>
                    <a:pt x="626" y="367"/>
                  </a:lnTo>
                  <a:lnTo>
                    <a:pt x="628" y="365"/>
                  </a:lnTo>
                  <a:lnTo>
                    <a:pt x="629" y="362"/>
                  </a:lnTo>
                  <a:lnTo>
                    <a:pt x="630" y="360"/>
                  </a:lnTo>
                  <a:lnTo>
                    <a:pt x="630" y="357"/>
                  </a:lnTo>
                  <a:lnTo>
                    <a:pt x="630" y="135"/>
                  </a:lnTo>
                  <a:lnTo>
                    <a:pt x="630" y="133"/>
                  </a:lnTo>
                  <a:lnTo>
                    <a:pt x="629" y="130"/>
                  </a:lnTo>
                  <a:lnTo>
                    <a:pt x="628" y="127"/>
                  </a:lnTo>
                  <a:lnTo>
                    <a:pt x="626" y="125"/>
                  </a:lnTo>
                  <a:lnTo>
                    <a:pt x="624" y="123"/>
                  </a:lnTo>
                  <a:lnTo>
                    <a:pt x="622" y="121"/>
                  </a:lnTo>
                  <a:lnTo>
                    <a:pt x="619" y="121"/>
                  </a:lnTo>
                  <a:lnTo>
                    <a:pt x="615" y="120"/>
                  </a:lnTo>
                  <a:lnTo>
                    <a:pt x="481" y="120"/>
                  </a:lnTo>
                  <a:lnTo>
                    <a:pt x="481" y="75"/>
                  </a:lnTo>
                  <a:lnTo>
                    <a:pt x="480" y="72"/>
                  </a:lnTo>
                  <a:lnTo>
                    <a:pt x="480" y="70"/>
                  </a:lnTo>
                  <a:lnTo>
                    <a:pt x="477" y="68"/>
                  </a:lnTo>
                  <a:lnTo>
                    <a:pt x="476" y="64"/>
                  </a:lnTo>
                  <a:lnTo>
                    <a:pt x="474" y="63"/>
                  </a:lnTo>
                  <a:lnTo>
                    <a:pt x="471" y="61"/>
                  </a:lnTo>
                  <a:lnTo>
                    <a:pt x="469" y="60"/>
                  </a:lnTo>
                  <a:lnTo>
                    <a:pt x="466" y="60"/>
                  </a:lnTo>
                  <a:lnTo>
                    <a:pt x="407" y="60"/>
                  </a:lnTo>
                  <a:lnTo>
                    <a:pt x="405" y="52"/>
                  </a:lnTo>
                  <a:lnTo>
                    <a:pt x="400" y="41"/>
                  </a:lnTo>
                  <a:lnTo>
                    <a:pt x="398" y="37"/>
                  </a:lnTo>
                  <a:lnTo>
                    <a:pt x="395" y="31"/>
                  </a:lnTo>
                  <a:lnTo>
                    <a:pt x="391" y="26"/>
                  </a:lnTo>
                  <a:lnTo>
                    <a:pt x="385" y="22"/>
                  </a:lnTo>
                  <a:lnTo>
                    <a:pt x="380" y="17"/>
                  </a:lnTo>
                  <a:lnTo>
                    <a:pt x="375" y="13"/>
                  </a:lnTo>
                  <a:lnTo>
                    <a:pt x="367" y="10"/>
                  </a:lnTo>
                  <a:lnTo>
                    <a:pt x="360" y="7"/>
                  </a:lnTo>
                  <a:lnTo>
                    <a:pt x="350" y="3"/>
                  </a:lnTo>
                  <a:lnTo>
                    <a:pt x="340" y="1"/>
                  </a:lnTo>
                  <a:lnTo>
                    <a:pt x="330" y="0"/>
                  </a:lnTo>
                  <a:lnTo>
                    <a:pt x="318" y="0"/>
                  </a:lnTo>
                  <a:lnTo>
                    <a:pt x="306" y="0"/>
                  </a:lnTo>
                  <a:lnTo>
                    <a:pt x="294" y="1"/>
                  </a:lnTo>
                  <a:lnTo>
                    <a:pt x="285" y="3"/>
                  </a:lnTo>
                  <a:lnTo>
                    <a:pt x="276" y="7"/>
                  </a:lnTo>
                  <a:lnTo>
                    <a:pt x="269" y="10"/>
                  </a:lnTo>
                  <a:lnTo>
                    <a:pt x="261" y="13"/>
                  </a:lnTo>
                  <a:lnTo>
                    <a:pt x="255" y="17"/>
                  </a:lnTo>
                  <a:lnTo>
                    <a:pt x="249" y="22"/>
                  </a:lnTo>
                  <a:lnTo>
                    <a:pt x="245" y="26"/>
                  </a:lnTo>
                  <a:lnTo>
                    <a:pt x="241" y="31"/>
                  </a:lnTo>
                  <a:lnTo>
                    <a:pt x="238" y="37"/>
                  </a:lnTo>
                  <a:lnTo>
                    <a:pt x="235" y="41"/>
                  </a:lnTo>
                  <a:lnTo>
                    <a:pt x="231" y="52"/>
                  </a:lnTo>
                  <a:lnTo>
                    <a:pt x="228" y="60"/>
                  </a:lnTo>
                  <a:lnTo>
                    <a:pt x="165" y="60"/>
                  </a:lnTo>
                  <a:lnTo>
                    <a:pt x="162" y="60"/>
                  </a:lnTo>
                  <a:lnTo>
                    <a:pt x="160" y="61"/>
                  </a:lnTo>
                  <a:lnTo>
                    <a:pt x="156" y="63"/>
                  </a:lnTo>
                  <a:lnTo>
                    <a:pt x="154" y="64"/>
                  </a:lnTo>
                  <a:lnTo>
                    <a:pt x="152" y="68"/>
                  </a:lnTo>
                  <a:lnTo>
                    <a:pt x="151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7" y="123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736"/>
                  </a:lnTo>
                  <a:lnTo>
                    <a:pt x="0" y="745"/>
                  </a:lnTo>
                  <a:lnTo>
                    <a:pt x="1" y="754"/>
                  </a:lnTo>
                  <a:lnTo>
                    <a:pt x="2" y="762"/>
                  </a:lnTo>
                  <a:lnTo>
                    <a:pt x="4" y="770"/>
                  </a:lnTo>
                  <a:lnTo>
                    <a:pt x="8" y="776"/>
                  </a:lnTo>
                  <a:lnTo>
                    <a:pt x="11" y="782"/>
                  </a:lnTo>
                  <a:lnTo>
                    <a:pt x="14" y="788"/>
                  </a:lnTo>
                  <a:lnTo>
                    <a:pt x="18" y="793"/>
                  </a:lnTo>
                  <a:lnTo>
                    <a:pt x="24" y="797"/>
                  </a:lnTo>
                  <a:lnTo>
                    <a:pt x="29" y="801"/>
                  </a:lnTo>
                  <a:lnTo>
                    <a:pt x="35" y="804"/>
                  </a:lnTo>
                  <a:lnTo>
                    <a:pt x="42" y="807"/>
                  </a:lnTo>
                  <a:lnTo>
                    <a:pt x="49" y="808"/>
                  </a:lnTo>
                  <a:lnTo>
                    <a:pt x="57" y="810"/>
                  </a:lnTo>
                  <a:lnTo>
                    <a:pt x="65" y="811"/>
                  </a:lnTo>
                  <a:lnTo>
                    <a:pt x="75" y="811"/>
                  </a:lnTo>
                  <a:lnTo>
                    <a:pt x="375" y="811"/>
                  </a:lnTo>
                  <a:lnTo>
                    <a:pt x="378" y="811"/>
                  </a:lnTo>
                  <a:lnTo>
                    <a:pt x="380" y="810"/>
                  </a:lnTo>
                  <a:lnTo>
                    <a:pt x="383" y="809"/>
                  </a:lnTo>
                  <a:lnTo>
                    <a:pt x="385" y="807"/>
                  </a:lnTo>
                  <a:lnTo>
                    <a:pt x="388" y="805"/>
                  </a:lnTo>
                  <a:lnTo>
                    <a:pt x="389" y="803"/>
                  </a:lnTo>
                  <a:lnTo>
                    <a:pt x="390" y="800"/>
                  </a:lnTo>
                  <a:lnTo>
                    <a:pt x="390" y="796"/>
                  </a:lnTo>
                  <a:lnTo>
                    <a:pt x="390" y="793"/>
                  </a:lnTo>
                  <a:lnTo>
                    <a:pt x="389" y="791"/>
                  </a:lnTo>
                  <a:lnTo>
                    <a:pt x="388" y="788"/>
                  </a:lnTo>
                  <a:lnTo>
                    <a:pt x="385" y="786"/>
                  </a:lnTo>
                  <a:lnTo>
                    <a:pt x="383" y="784"/>
                  </a:lnTo>
                  <a:lnTo>
                    <a:pt x="380" y="782"/>
                  </a:lnTo>
                  <a:lnTo>
                    <a:pt x="378" y="781"/>
                  </a:lnTo>
                  <a:lnTo>
                    <a:pt x="375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2">
              <a:extLst>
                <a:ext uri="{FF2B5EF4-FFF2-40B4-BE49-F238E27FC236}">
                  <a16:creationId xmlns:a16="http://schemas.microsoft.com/office/drawing/2014/main" id="{65BD3E3F-9B87-4FBD-A1E4-C05568FA8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09851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0 h 30"/>
                <a:gd name="T24" fmla="*/ 2 w 219"/>
                <a:gd name="T25" fmla="*/ 23 h 30"/>
                <a:gd name="T26" fmla="*/ 4 w 219"/>
                <a:gd name="T27" fmla="*/ 26 h 30"/>
                <a:gd name="T28" fmla="*/ 6 w 219"/>
                <a:gd name="T29" fmla="*/ 28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29 h 30"/>
                <a:gd name="T40" fmla="*/ 209 w 219"/>
                <a:gd name="T41" fmla="*/ 29 h 30"/>
                <a:gd name="T42" fmla="*/ 211 w 219"/>
                <a:gd name="T43" fmla="*/ 28 h 30"/>
                <a:gd name="T44" fmla="*/ 215 w 219"/>
                <a:gd name="T45" fmla="*/ 26 h 30"/>
                <a:gd name="T46" fmla="*/ 216 w 219"/>
                <a:gd name="T47" fmla="*/ 23 h 30"/>
                <a:gd name="T48" fmla="*/ 218 w 219"/>
                <a:gd name="T49" fmla="*/ 20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6 h 30"/>
                <a:gd name="T60" fmla="*/ 215 w 219"/>
                <a:gd name="T61" fmla="*/ 4 h 30"/>
                <a:gd name="T62" fmla="*/ 211 w 219"/>
                <a:gd name="T63" fmla="*/ 2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29"/>
                  </a:lnTo>
                  <a:lnTo>
                    <a:pt x="209" y="29"/>
                  </a:lnTo>
                  <a:lnTo>
                    <a:pt x="211" y="28"/>
                  </a:lnTo>
                  <a:lnTo>
                    <a:pt x="215" y="26"/>
                  </a:lnTo>
                  <a:lnTo>
                    <a:pt x="216" y="23"/>
                  </a:lnTo>
                  <a:lnTo>
                    <a:pt x="218" y="20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5" y="4"/>
                  </a:lnTo>
                  <a:lnTo>
                    <a:pt x="211" y="2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43">
              <a:extLst>
                <a:ext uri="{FF2B5EF4-FFF2-40B4-BE49-F238E27FC236}">
                  <a16:creationId xmlns:a16="http://schemas.microsoft.com/office/drawing/2014/main" id="{98662D7A-91D4-4128-84AF-5EA568FF1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38426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1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6 w 219"/>
                <a:gd name="T29" fmla="*/ 28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30 h 30"/>
                <a:gd name="T40" fmla="*/ 209 w 219"/>
                <a:gd name="T41" fmla="*/ 29 h 30"/>
                <a:gd name="T42" fmla="*/ 211 w 219"/>
                <a:gd name="T43" fmla="*/ 28 h 30"/>
                <a:gd name="T44" fmla="*/ 215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1 h 30"/>
                <a:gd name="T56" fmla="*/ 218 w 219"/>
                <a:gd name="T57" fmla="*/ 9 h 30"/>
                <a:gd name="T58" fmla="*/ 216 w 219"/>
                <a:gd name="T59" fmla="*/ 6 h 30"/>
                <a:gd name="T60" fmla="*/ 215 w 219"/>
                <a:gd name="T61" fmla="*/ 4 h 30"/>
                <a:gd name="T62" fmla="*/ 211 w 219"/>
                <a:gd name="T63" fmla="*/ 2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30"/>
                  </a:lnTo>
                  <a:lnTo>
                    <a:pt x="209" y="29"/>
                  </a:lnTo>
                  <a:lnTo>
                    <a:pt x="211" y="28"/>
                  </a:lnTo>
                  <a:lnTo>
                    <a:pt x="215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1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5" y="4"/>
                  </a:lnTo>
                  <a:lnTo>
                    <a:pt x="211" y="2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44">
              <a:extLst>
                <a:ext uri="{FF2B5EF4-FFF2-40B4-BE49-F238E27FC236}">
                  <a16:creationId xmlns:a16="http://schemas.microsoft.com/office/drawing/2014/main" id="{47BFE926-06B5-4705-A003-C861764C3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67001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3 h 30"/>
                <a:gd name="T10" fmla="*/ 4 w 219"/>
                <a:gd name="T11" fmla="*/ 4 h 30"/>
                <a:gd name="T12" fmla="*/ 2 w 219"/>
                <a:gd name="T13" fmla="*/ 7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6 w 219"/>
                <a:gd name="T29" fmla="*/ 27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30 h 30"/>
                <a:gd name="T40" fmla="*/ 209 w 219"/>
                <a:gd name="T41" fmla="*/ 29 h 30"/>
                <a:gd name="T42" fmla="*/ 211 w 219"/>
                <a:gd name="T43" fmla="*/ 27 h 30"/>
                <a:gd name="T44" fmla="*/ 215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7 h 30"/>
                <a:gd name="T60" fmla="*/ 215 w 219"/>
                <a:gd name="T61" fmla="*/ 4 h 30"/>
                <a:gd name="T62" fmla="*/ 211 w 219"/>
                <a:gd name="T63" fmla="*/ 3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30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5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7"/>
                  </a:lnTo>
                  <a:lnTo>
                    <a:pt x="215" y="4"/>
                  </a:lnTo>
                  <a:lnTo>
                    <a:pt x="211" y="3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46">
              <a:extLst>
                <a:ext uri="{FF2B5EF4-FFF2-40B4-BE49-F238E27FC236}">
                  <a16:creationId xmlns:a16="http://schemas.microsoft.com/office/drawing/2014/main" id="{9E71CD80-B00E-498C-8C41-DAF320AE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95575"/>
              <a:ext cx="46038" cy="9525"/>
            </a:xfrm>
            <a:custGeom>
              <a:avLst/>
              <a:gdLst>
                <a:gd name="T0" fmla="*/ 128 w 143"/>
                <a:gd name="T1" fmla="*/ 29 h 29"/>
                <a:gd name="T2" fmla="*/ 131 w 143"/>
                <a:gd name="T3" fmla="*/ 29 h 29"/>
                <a:gd name="T4" fmla="*/ 133 w 143"/>
                <a:gd name="T5" fmla="*/ 28 h 29"/>
                <a:gd name="T6" fmla="*/ 137 w 143"/>
                <a:gd name="T7" fmla="*/ 27 h 29"/>
                <a:gd name="T8" fmla="*/ 139 w 143"/>
                <a:gd name="T9" fmla="*/ 26 h 29"/>
                <a:gd name="T10" fmla="*/ 140 w 143"/>
                <a:gd name="T11" fmla="*/ 23 h 29"/>
                <a:gd name="T12" fmla="*/ 142 w 143"/>
                <a:gd name="T13" fmla="*/ 21 h 29"/>
                <a:gd name="T14" fmla="*/ 143 w 143"/>
                <a:gd name="T15" fmla="*/ 18 h 29"/>
                <a:gd name="T16" fmla="*/ 143 w 143"/>
                <a:gd name="T17" fmla="*/ 14 h 29"/>
                <a:gd name="T18" fmla="*/ 143 w 143"/>
                <a:gd name="T19" fmla="*/ 12 h 29"/>
                <a:gd name="T20" fmla="*/ 142 w 143"/>
                <a:gd name="T21" fmla="*/ 9 h 29"/>
                <a:gd name="T22" fmla="*/ 140 w 143"/>
                <a:gd name="T23" fmla="*/ 7 h 29"/>
                <a:gd name="T24" fmla="*/ 139 w 143"/>
                <a:gd name="T25" fmla="*/ 5 h 29"/>
                <a:gd name="T26" fmla="*/ 137 w 143"/>
                <a:gd name="T27" fmla="*/ 3 h 29"/>
                <a:gd name="T28" fmla="*/ 133 w 143"/>
                <a:gd name="T29" fmla="*/ 2 h 29"/>
                <a:gd name="T30" fmla="*/ 131 w 143"/>
                <a:gd name="T31" fmla="*/ 1 h 29"/>
                <a:gd name="T32" fmla="*/ 128 w 143"/>
                <a:gd name="T33" fmla="*/ 0 h 29"/>
                <a:gd name="T34" fmla="*/ 15 w 143"/>
                <a:gd name="T35" fmla="*/ 0 h 29"/>
                <a:gd name="T36" fmla="*/ 11 w 143"/>
                <a:gd name="T37" fmla="*/ 1 h 29"/>
                <a:gd name="T38" fmla="*/ 8 w 143"/>
                <a:gd name="T39" fmla="*/ 2 h 29"/>
                <a:gd name="T40" fmla="*/ 6 w 143"/>
                <a:gd name="T41" fmla="*/ 3 h 29"/>
                <a:gd name="T42" fmla="*/ 4 w 143"/>
                <a:gd name="T43" fmla="*/ 5 h 29"/>
                <a:gd name="T44" fmla="*/ 2 w 143"/>
                <a:gd name="T45" fmla="*/ 7 h 29"/>
                <a:gd name="T46" fmla="*/ 1 w 143"/>
                <a:gd name="T47" fmla="*/ 9 h 29"/>
                <a:gd name="T48" fmla="*/ 0 w 143"/>
                <a:gd name="T49" fmla="*/ 12 h 29"/>
                <a:gd name="T50" fmla="*/ 0 w 143"/>
                <a:gd name="T51" fmla="*/ 14 h 29"/>
                <a:gd name="T52" fmla="*/ 0 w 143"/>
                <a:gd name="T53" fmla="*/ 18 h 29"/>
                <a:gd name="T54" fmla="*/ 1 w 143"/>
                <a:gd name="T55" fmla="*/ 21 h 29"/>
                <a:gd name="T56" fmla="*/ 2 w 143"/>
                <a:gd name="T57" fmla="*/ 23 h 29"/>
                <a:gd name="T58" fmla="*/ 4 w 143"/>
                <a:gd name="T59" fmla="*/ 26 h 29"/>
                <a:gd name="T60" fmla="*/ 6 w 143"/>
                <a:gd name="T61" fmla="*/ 27 h 29"/>
                <a:gd name="T62" fmla="*/ 8 w 143"/>
                <a:gd name="T63" fmla="*/ 28 h 29"/>
                <a:gd name="T64" fmla="*/ 11 w 143"/>
                <a:gd name="T65" fmla="*/ 29 h 29"/>
                <a:gd name="T66" fmla="*/ 15 w 143"/>
                <a:gd name="T67" fmla="*/ 29 h 29"/>
                <a:gd name="T68" fmla="*/ 128 w 143"/>
                <a:gd name="T6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" h="29">
                  <a:moveTo>
                    <a:pt x="128" y="29"/>
                  </a:moveTo>
                  <a:lnTo>
                    <a:pt x="131" y="29"/>
                  </a:lnTo>
                  <a:lnTo>
                    <a:pt x="133" y="28"/>
                  </a:lnTo>
                  <a:lnTo>
                    <a:pt x="137" y="27"/>
                  </a:lnTo>
                  <a:lnTo>
                    <a:pt x="139" y="26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3" y="18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39" y="5"/>
                  </a:lnTo>
                  <a:lnTo>
                    <a:pt x="137" y="3"/>
                  </a:lnTo>
                  <a:lnTo>
                    <a:pt x="133" y="2"/>
                  </a:lnTo>
                  <a:lnTo>
                    <a:pt x="131" y="1"/>
                  </a:lnTo>
                  <a:lnTo>
                    <a:pt x="128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8"/>
                  </a:lnTo>
                  <a:lnTo>
                    <a:pt x="11" y="29"/>
                  </a:lnTo>
                  <a:lnTo>
                    <a:pt x="15" y="29"/>
                  </a:lnTo>
                  <a:lnTo>
                    <a:pt x="12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746653B-C950-42B8-AB6D-81408F2E05EA}"/>
              </a:ext>
            </a:extLst>
          </p:cNvPr>
          <p:cNvGrpSpPr/>
          <p:nvPr/>
        </p:nvGrpSpPr>
        <p:grpSpPr>
          <a:xfrm>
            <a:off x="7107159" y="2574622"/>
            <a:ext cx="486054" cy="483368"/>
            <a:chOff x="8167688" y="2505075"/>
            <a:chExt cx="287338" cy="285750"/>
          </a:xfrm>
          <a:solidFill>
            <a:srgbClr val="280E32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8" name="Freeform 347">
              <a:extLst>
                <a:ext uri="{FF2B5EF4-FFF2-40B4-BE49-F238E27FC236}">
                  <a16:creationId xmlns:a16="http://schemas.microsoft.com/office/drawing/2014/main" id="{FC3C1113-0A29-4FAB-AB49-419F24ECE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3900" y="2692400"/>
              <a:ext cx="76200" cy="58738"/>
            </a:xfrm>
            <a:custGeom>
              <a:avLst/>
              <a:gdLst>
                <a:gd name="T0" fmla="*/ 214 w 240"/>
                <a:gd name="T1" fmla="*/ 5 h 187"/>
                <a:gd name="T2" fmla="*/ 90 w 240"/>
                <a:gd name="T3" fmla="*/ 143 h 187"/>
                <a:gd name="T4" fmla="*/ 26 w 240"/>
                <a:gd name="T5" fmla="*/ 79 h 187"/>
                <a:gd name="T6" fmla="*/ 24 w 240"/>
                <a:gd name="T7" fmla="*/ 77 h 187"/>
                <a:gd name="T8" fmla="*/ 20 w 240"/>
                <a:gd name="T9" fmla="*/ 75 h 187"/>
                <a:gd name="T10" fmla="*/ 18 w 240"/>
                <a:gd name="T11" fmla="*/ 75 h 187"/>
                <a:gd name="T12" fmla="*/ 15 w 240"/>
                <a:gd name="T13" fmla="*/ 73 h 187"/>
                <a:gd name="T14" fmla="*/ 12 w 240"/>
                <a:gd name="T15" fmla="*/ 75 h 187"/>
                <a:gd name="T16" fmla="*/ 10 w 240"/>
                <a:gd name="T17" fmla="*/ 76 h 187"/>
                <a:gd name="T18" fmla="*/ 6 w 240"/>
                <a:gd name="T19" fmla="*/ 77 h 187"/>
                <a:gd name="T20" fmla="*/ 4 w 240"/>
                <a:gd name="T21" fmla="*/ 79 h 187"/>
                <a:gd name="T22" fmla="*/ 2 w 240"/>
                <a:gd name="T23" fmla="*/ 81 h 187"/>
                <a:gd name="T24" fmla="*/ 1 w 240"/>
                <a:gd name="T25" fmla="*/ 84 h 187"/>
                <a:gd name="T26" fmla="*/ 0 w 240"/>
                <a:gd name="T27" fmla="*/ 86 h 187"/>
                <a:gd name="T28" fmla="*/ 0 w 240"/>
                <a:gd name="T29" fmla="*/ 90 h 187"/>
                <a:gd name="T30" fmla="*/ 0 w 240"/>
                <a:gd name="T31" fmla="*/ 93 h 187"/>
                <a:gd name="T32" fmla="*/ 1 w 240"/>
                <a:gd name="T33" fmla="*/ 95 h 187"/>
                <a:gd name="T34" fmla="*/ 2 w 240"/>
                <a:gd name="T35" fmla="*/ 97 h 187"/>
                <a:gd name="T36" fmla="*/ 4 w 240"/>
                <a:gd name="T37" fmla="*/ 99 h 187"/>
                <a:gd name="T38" fmla="*/ 91 w 240"/>
                <a:gd name="T39" fmla="*/ 187 h 187"/>
                <a:gd name="T40" fmla="*/ 237 w 240"/>
                <a:gd name="T41" fmla="*/ 24 h 187"/>
                <a:gd name="T42" fmla="*/ 239 w 240"/>
                <a:gd name="T43" fmla="*/ 22 h 187"/>
                <a:gd name="T44" fmla="*/ 240 w 240"/>
                <a:gd name="T45" fmla="*/ 19 h 187"/>
                <a:gd name="T46" fmla="*/ 240 w 240"/>
                <a:gd name="T47" fmla="*/ 17 h 187"/>
                <a:gd name="T48" fmla="*/ 240 w 240"/>
                <a:gd name="T49" fmla="*/ 14 h 187"/>
                <a:gd name="T50" fmla="*/ 240 w 240"/>
                <a:gd name="T51" fmla="*/ 11 h 187"/>
                <a:gd name="T52" fmla="*/ 239 w 240"/>
                <a:gd name="T53" fmla="*/ 8 h 187"/>
                <a:gd name="T54" fmla="*/ 238 w 240"/>
                <a:gd name="T55" fmla="*/ 6 h 187"/>
                <a:gd name="T56" fmla="*/ 235 w 240"/>
                <a:gd name="T57" fmla="*/ 3 h 187"/>
                <a:gd name="T58" fmla="*/ 233 w 240"/>
                <a:gd name="T59" fmla="*/ 2 h 187"/>
                <a:gd name="T60" fmla="*/ 230 w 240"/>
                <a:gd name="T61" fmla="*/ 1 h 187"/>
                <a:gd name="T62" fmla="*/ 227 w 240"/>
                <a:gd name="T63" fmla="*/ 0 h 187"/>
                <a:gd name="T64" fmla="*/ 225 w 240"/>
                <a:gd name="T65" fmla="*/ 0 h 187"/>
                <a:gd name="T66" fmla="*/ 218 w 240"/>
                <a:gd name="T67" fmla="*/ 2 h 187"/>
                <a:gd name="T68" fmla="*/ 214 w 240"/>
                <a:gd name="T69" fmla="*/ 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" h="187">
                  <a:moveTo>
                    <a:pt x="214" y="5"/>
                  </a:moveTo>
                  <a:lnTo>
                    <a:pt x="90" y="143"/>
                  </a:lnTo>
                  <a:lnTo>
                    <a:pt x="26" y="79"/>
                  </a:lnTo>
                  <a:lnTo>
                    <a:pt x="24" y="77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5" y="73"/>
                  </a:lnTo>
                  <a:lnTo>
                    <a:pt x="12" y="75"/>
                  </a:lnTo>
                  <a:lnTo>
                    <a:pt x="10" y="76"/>
                  </a:lnTo>
                  <a:lnTo>
                    <a:pt x="6" y="77"/>
                  </a:lnTo>
                  <a:lnTo>
                    <a:pt x="4" y="79"/>
                  </a:lnTo>
                  <a:lnTo>
                    <a:pt x="2" y="81"/>
                  </a:lnTo>
                  <a:lnTo>
                    <a:pt x="1" y="84"/>
                  </a:lnTo>
                  <a:lnTo>
                    <a:pt x="0" y="86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5"/>
                  </a:lnTo>
                  <a:lnTo>
                    <a:pt x="2" y="97"/>
                  </a:lnTo>
                  <a:lnTo>
                    <a:pt x="4" y="99"/>
                  </a:lnTo>
                  <a:lnTo>
                    <a:pt x="91" y="187"/>
                  </a:lnTo>
                  <a:lnTo>
                    <a:pt x="237" y="24"/>
                  </a:lnTo>
                  <a:lnTo>
                    <a:pt x="239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0" y="14"/>
                  </a:lnTo>
                  <a:lnTo>
                    <a:pt x="240" y="11"/>
                  </a:lnTo>
                  <a:lnTo>
                    <a:pt x="239" y="8"/>
                  </a:lnTo>
                  <a:lnTo>
                    <a:pt x="238" y="6"/>
                  </a:lnTo>
                  <a:lnTo>
                    <a:pt x="235" y="3"/>
                  </a:lnTo>
                  <a:lnTo>
                    <a:pt x="233" y="2"/>
                  </a:lnTo>
                  <a:lnTo>
                    <a:pt x="230" y="1"/>
                  </a:lnTo>
                  <a:lnTo>
                    <a:pt x="227" y="0"/>
                  </a:lnTo>
                  <a:lnTo>
                    <a:pt x="225" y="0"/>
                  </a:lnTo>
                  <a:lnTo>
                    <a:pt x="218" y="2"/>
                  </a:lnTo>
                  <a:lnTo>
                    <a:pt x="21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48">
              <a:extLst>
                <a:ext uri="{FF2B5EF4-FFF2-40B4-BE49-F238E27FC236}">
                  <a16:creationId xmlns:a16="http://schemas.microsoft.com/office/drawing/2014/main" id="{B8D13A9B-0BD6-4195-9DF6-189E79069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0563" y="2647950"/>
              <a:ext cx="144463" cy="142875"/>
            </a:xfrm>
            <a:custGeom>
              <a:avLst/>
              <a:gdLst>
                <a:gd name="T0" fmla="*/ 185 w 451"/>
                <a:gd name="T1" fmla="*/ 416 h 450"/>
                <a:gd name="T2" fmla="*/ 132 w 451"/>
                <a:gd name="T3" fmla="*/ 397 h 450"/>
                <a:gd name="T4" fmla="*/ 87 w 451"/>
                <a:gd name="T5" fmla="*/ 364 h 450"/>
                <a:gd name="T6" fmla="*/ 54 w 451"/>
                <a:gd name="T7" fmla="*/ 319 h 450"/>
                <a:gd name="T8" fmla="*/ 33 w 451"/>
                <a:gd name="T9" fmla="*/ 264 h 450"/>
                <a:gd name="T10" fmla="*/ 31 w 451"/>
                <a:gd name="T11" fmla="*/ 205 h 450"/>
                <a:gd name="T12" fmla="*/ 45 w 451"/>
                <a:gd name="T13" fmla="*/ 150 h 450"/>
                <a:gd name="T14" fmla="*/ 74 w 451"/>
                <a:gd name="T15" fmla="*/ 101 h 450"/>
                <a:gd name="T16" fmla="*/ 116 w 451"/>
                <a:gd name="T17" fmla="*/ 63 h 450"/>
                <a:gd name="T18" fmla="*/ 167 w 451"/>
                <a:gd name="T19" fmla="*/ 38 h 450"/>
                <a:gd name="T20" fmla="*/ 225 w 451"/>
                <a:gd name="T21" fmla="*/ 30 h 450"/>
                <a:gd name="T22" fmla="*/ 283 w 451"/>
                <a:gd name="T23" fmla="*/ 38 h 450"/>
                <a:gd name="T24" fmla="*/ 334 w 451"/>
                <a:gd name="T25" fmla="*/ 63 h 450"/>
                <a:gd name="T26" fmla="*/ 376 w 451"/>
                <a:gd name="T27" fmla="*/ 101 h 450"/>
                <a:gd name="T28" fmla="*/ 405 w 451"/>
                <a:gd name="T29" fmla="*/ 150 h 450"/>
                <a:gd name="T30" fmla="*/ 420 w 451"/>
                <a:gd name="T31" fmla="*/ 205 h 450"/>
                <a:gd name="T32" fmla="*/ 416 w 451"/>
                <a:gd name="T33" fmla="*/ 264 h 450"/>
                <a:gd name="T34" fmla="*/ 397 w 451"/>
                <a:gd name="T35" fmla="*/ 319 h 450"/>
                <a:gd name="T36" fmla="*/ 363 w 451"/>
                <a:gd name="T37" fmla="*/ 364 h 450"/>
                <a:gd name="T38" fmla="*/ 318 w 451"/>
                <a:gd name="T39" fmla="*/ 397 h 450"/>
                <a:gd name="T40" fmla="*/ 264 w 451"/>
                <a:gd name="T41" fmla="*/ 416 h 450"/>
                <a:gd name="T42" fmla="*/ 225 w 451"/>
                <a:gd name="T43" fmla="*/ 0 h 450"/>
                <a:gd name="T44" fmla="*/ 191 w 451"/>
                <a:gd name="T45" fmla="*/ 2 h 450"/>
                <a:gd name="T46" fmla="*/ 159 w 451"/>
                <a:gd name="T47" fmla="*/ 10 h 450"/>
                <a:gd name="T48" fmla="*/ 118 w 451"/>
                <a:gd name="T49" fmla="*/ 28 h 450"/>
                <a:gd name="T50" fmla="*/ 65 w 451"/>
                <a:gd name="T51" fmla="*/ 66 h 450"/>
                <a:gd name="T52" fmla="*/ 27 w 451"/>
                <a:gd name="T53" fmla="*/ 118 h 450"/>
                <a:gd name="T54" fmla="*/ 10 w 451"/>
                <a:gd name="T55" fmla="*/ 158 h 450"/>
                <a:gd name="T56" fmla="*/ 2 w 451"/>
                <a:gd name="T57" fmla="*/ 191 h 450"/>
                <a:gd name="T58" fmla="*/ 0 w 451"/>
                <a:gd name="T59" fmla="*/ 224 h 450"/>
                <a:gd name="T60" fmla="*/ 2 w 451"/>
                <a:gd name="T61" fmla="*/ 260 h 450"/>
                <a:gd name="T62" fmla="*/ 10 w 451"/>
                <a:gd name="T63" fmla="*/ 292 h 450"/>
                <a:gd name="T64" fmla="*/ 27 w 451"/>
                <a:gd name="T65" fmla="*/ 333 h 450"/>
                <a:gd name="T66" fmla="*/ 65 w 451"/>
                <a:gd name="T67" fmla="*/ 384 h 450"/>
                <a:gd name="T68" fmla="*/ 118 w 451"/>
                <a:gd name="T69" fmla="*/ 423 h 450"/>
                <a:gd name="T70" fmla="*/ 159 w 451"/>
                <a:gd name="T71" fmla="*/ 441 h 450"/>
                <a:gd name="T72" fmla="*/ 191 w 451"/>
                <a:gd name="T73" fmla="*/ 448 h 450"/>
                <a:gd name="T74" fmla="*/ 225 w 451"/>
                <a:gd name="T75" fmla="*/ 450 h 450"/>
                <a:gd name="T76" fmla="*/ 259 w 451"/>
                <a:gd name="T77" fmla="*/ 448 h 450"/>
                <a:gd name="T78" fmla="*/ 292 w 451"/>
                <a:gd name="T79" fmla="*/ 441 h 450"/>
                <a:gd name="T80" fmla="*/ 332 w 451"/>
                <a:gd name="T81" fmla="*/ 423 h 450"/>
                <a:gd name="T82" fmla="*/ 384 w 451"/>
                <a:gd name="T83" fmla="*/ 384 h 450"/>
                <a:gd name="T84" fmla="*/ 423 w 451"/>
                <a:gd name="T85" fmla="*/ 333 h 450"/>
                <a:gd name="T86" fmla="*/ 440 w 451"/>
                <a:gd name="T87" fmla="*/ 292 h 450"/>
                <a:gd name="T88" fmla="*/ 447 w 451"/>
                <a:gd name="T89" fmla="*/ 260 h 450"/>
                <a:gd name="T90" fmla="*/ 451 w 451"/>
                <a:gd name="T91" fmla="*/ 224 h 450"/>
                <a:gd name="T92" fmla="*/ 447 w 451"/>
                <a:gd name="T93" fmla="*/ 191 h 450"/>
                <a:gd name="T94" fmla="*/ 440 w 451"/>
                <a:gd name="T95" fmla="*/ 158 h 450"/>
                <a:gd name="T96" fmla="*/ 423 w 451"/>
                <a:gd name="T97" fmla="*/ 118 h 450"/>
                <a:gd name="T98" fmla="*/ 384 w 451"/>
                <a:gd name="T99" fmla="*/ 66 h 450"/>
                <a:gd name="T100" fmla="*/ 332 w 451"/>
                <a:gd name="T101" fmla="*/ 28 h 450"/>
                <a:gd name="T102" fmla="*/ 292 w 451"/>
                <a:gd name="T103" fmla="*/ 10 h 450"/>
                <a:gd name="T104" fmla="*/ 259 w 451"/>
                <a:gd name="T105" fmla="*/ 2 h 450"/>
                <a:gd name="T106" fmla="*/ 225 w 451"/>
                <a:gd name="T107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1" h="450">
                  <a:moveTo>
                    <a:pt x="225" y="420"/>
                  </a:moveTo>
                  <a:lnTo>
                    <a:pt x="206" y="419"/>
                  </a:lnTo>
                  <a:lnTo>
                    <a:pt x="185" y="416"/>
                  </a:lnTo>
                  <a:lnTo>
                    <a:pt x="167" y="412"/>
                  </a:lnTo>
                  <a:lnTo>
                    <a:pt x="149" y="405"/>
                  </a:lnTo>
                  <a:lnTo>
                    <a:pt x="132" y="397"/>
                  </a:lnTo>
                  <a:lnTo>
                    <a:pt x="116" y="387"/>
                  </a:lnTo>
                  <a:lnTo>
                    <a:pt x="101" y="375"/>
                  </a:lnTo>
                  <a:lnTo>
                    <a:pt x="87" y="364"/>
                  </a:lnTo>
                  <a:lnTo>
                    <a:pt x="74" y="350"/>
                  </a:lnTo>
                  <a:lnTo>
                    <a:pt x="63" y="335"/>
                  </a:lnTo>
                  <a:lnTo>
                    <a:pt x="54" y="319"/>
                  </a:lnTo>
                  <a:lnTo>
                    <a:pt x="45" y="301"/>
                  </a:lnTo>
                  <a:lnTo>
                    <a:pt x="39" y="283"/>
                  </a:lnTo>
                  <a:lnTo>
                    <a:pt x="33" y="264"/>
                  </a:lnTo>
                  <a:lnTo>
                    <a:pt x="31" y="245"/>
                  </a:lnTo>
                  <a:lnTo>
                    <a:pt x="30" y="224"/>
                  </a:lnTo>
                  <a:lnTo>
                    <a:pt x="31" y="205"/>
                  </a:lnTo>
                  <a:lnTo>
                    <a:pt x="33" y="186"/>
                  </a:lnTo>
                  <a:lnTo>
                    <a:pt x="39" y="168"/>
                  </a:lnTo>
                  <a:lnTo>
                    <a:pt x="45" y="150"/>
                  </a:lnTo>
                  <a:lnTo>
                    <a:pt x="54" y="132"/>
                  </a:lnTo>
                  <a:lnTo>
                    <a:pt x="63" y="116"/>
                  </a:lnTo>
                  <a:lnTo>
                    <a:pt x="74" y="101"/>
                  </a:lnTo>
                  <a:lnTo>
                    <a:pt x="87" y="87"/>
                  </a:lnTo>
                  <a:lnTo>
                    <a:pt x="101" y="75"/>
                  </a:lnTo>
                  <a:lnTo>
                    <a:pt x="116" y="63"/>
                  </a:lnTo>
                  <a:lnTo>
                    <a:pt x="132" y="53"/>
                  </a:lnTo>
                  <a:lnTo>
                    <a:pt x="149" y="46"/>
                  </a:lnTo>
                  <a:lnTo>
                    <a:pt x="167" y="38"/>
                  </a:lnTo>
                  <a:lnTo>
                    <a:pt x="185" y="34"/>
                  </a:lnTo>
                  <a:lnTo>
                    <a:pt x="206" y="31"/>
                  </a:lnTo>
                  <a:lnTo>
                    <a:pt x="225" y="30"/>
                  </a:lnTo>
                  <a:lnTo>
                    <a:pt x="245" y="31"/>
                  </a:lnTo>
                  <a:lnTo>
                    <a:pt x="264" y="34"/>
                  </a:lnTo>
                  <a:lnTo>
                    <a:pt x="283" y="38"/>
                  </a:lnTo>
                  <a:lnTo>
                    <a:pt x="301" y="46"/>
                  </a:lnTo>
                  <a:lnTo>
                    <a:pt x="318" y="53"/>
                  </a:lnTo>
                  <a:lnTo>
                    <a:pt x="334" y="63"/>
                  </a:lnTo>
                  <a:lnTo>
                    <a:pt x="349" y="75"/>
                  </a:lnTo>
                  <a:lnTo>
                    <a:pt x="363" y="87"/>
                  </a:lnTo>
                  <a:lnTo>
                    <a:pt x="376" y="101"/>
                  </a:lnTo>
                  <a:lnTo>
                    <a:pt x="386" y="116"/>
                  </a:lnTo>
                  <a:lnTo>
                    <a:pt x="397" y="132"/>
                  </a:lnTo>
                  <a:lnTo>
                    <a:pt x="405" y="150"/>
                  </a:lnTo>
                  <a:lnTo>
                    <a:pt x="411" y="168"/>
                  </a:lnTo>
                  <a:lnTo>
                    <a:pt x="416" y="186"/>
                  </a:lnTo>
                  <a:lnTo>
                    <a:pt x="420" y="205"/>
                  </a:lnTo>
                  <a:lnTo>
                    <a:pt x="421" y="224"/>
                  </a:lnTo>
                  <a:lnTo>
                    <a:pt x="420" y="245"/>
                  </a:lnTo>
                  <a:lnTo>
                    <a:pt x="416" y="264"/>
                  </a:lnTo>
                  <a:lnTo>
                    <a:pt x="411" y="283"/>
                  </a:lnTo>
                  <a:lnTo>
                    <a:pt x="405" y="301"/>
                  </a:lnTo>
                  <a:lnTo>
                    <a:pt x="397" y="319"/>
                  </a:lnTo>
                  <a:lnTo>
                    <a:pt x="386" y="335"/>
                  </a:lnTo>
                  <a:lnTo>
                    <a:pt x="376" y="350"/>
                  </a:lnTo>
                  <a:lnTo>
                    <a:pt x="363" y="364"/>
                  </a:lnTo>
                  <a:lnTo>
                    <a:pt x="349" y="375"/>
                  </a:lnTo>
                  <a:lnTo>
                    <a:pt x="334" y="387"/>
                  </a:lnTo>
                  <a:lnTo>
                    <a:pt x="318" y="397"/>
                  </a:lnTo>
                  <a:lnTo>
                    <a:pt x="301" y="405"/>
                  </a:lnTo>
                  <a:lnTo>
                    <a:pt x="283" y="412"/>
                  </a:lnTo>
                  <a:lnTo>
                    <a:pt x="264" y="416"/>
                  </a:lnTo>
                  <a:lnTo>
                    <a:pt x="245" y="419"/>
                  </a:lnTo>
                  <a:lnTo>
                    <a:pt x="225" y="420"/>
                  </a:lnTo>
                  <a:close/>
                  <a:moveTo>
                    <a:pt x="225" y="0"/>
                  </a:moveTo>
                  <a:lnTo>
                    <a:pt x="213" y="0"/>
                  </a:lnTo>
                  <a:lnTo>
                    <a:pt x="202" y="1"/>
                  </a:lnTo>
                  <a:lnTo>
                    <a:pt x="191" y="2"/>
                  </a:lnTo>
                  <a:lnTo>
                    <a:pt x="180" y="4"/>
                  </a:lnTo>
                  <a:lnTo>
                    <a:pt x="169" y="7"/>
                  </a:lnTo>
                  <a:lnTo>
                    <a:pt x="159" y="10"/>
                  </a:lnTo>
                  <a:lnTo>
                    <a:pt x="148" y="14"/>
                  </a:lnTo>
                  <a:lnTo>
                    <a:pt x="137" y="18"/>
                  </a:lnTo>
                  <a:lnTo>
                    <a:pt x="118" y="28"/>
                  </a:lnTo>
                  <a:lnTo>
                    <a:pt x="100" y="38"/>
                  </a:lnTo>
                  <a:lnTo>
                    <a:pt x="82" y="51"/>
                  </a:lnTo>
                  <a:lnTo>
                    <a:pt x="65" y="66"/>
                  </a:lnTo>
                  <a:lnTo>
                    <a:pt x="52" y="82"/>
                  </a:lnTo>
                  <a:lnTo>
                    <a:pt x="39" y="99"/>
                  </a:lnTo>
                  <a:lnTo>
                    <a:pt x="27" y="118"/>
                  </a:lnTo>
                  <a:lnTo>
                    <a:pt x="17" y="138"/>
                  </a:lnTo>
                  <a:lnTo>
                    <a:pt x="13" y="148"/>
                  </a:lnTo>
                  <a:lnTo>
                    <a:pt x="10" y="158"/>
                  </a:lnTo>
                  <a:lnTo>
                    <a:pt x="7" y="169"/>
                  </a:lnTo>
                  <a:lnTo>
                    <a:pt x="4" y="179"/>
                  </a:lnTo>
                  <a:lnTo>
                    <a:pt x="2" y="191"/>
                  </a:lnTo>
                  <a:lnTo>
                    <a:pt x="1" y="202"/>
                  </a:lnTo>
                  <a:lnTo>
                    <a:pt x="0" y="214"/>
                  </a:lnTo>
                  <a:lnTo>
                    <a:pt x="0" y="224"/>
                  </a:lnTo>
                  <a:lnTo>
                    <a:pt x="0" y="236"/>
                  </a:lnTo>
                  <a:lnTo>
                    <a:pt x="1" y="248"/>
                  </a:lnTo>
                  <a:lnTo>
                    <a:pt x="2" y="260"/>
                  </a:lnTo>
                  <a:lnTo>
                    <a:pt x="4" y="270"/>
                  </a:lnTo>
                  <a:lnTo>
                    <a:pt x="7" y="281"/>
                  </a:lnTo>
                  <a:lnTo>
                    <a:pt x="10" y="292"/>
                  </a:lnTo>
                  <a:lnTo>
                    <a:pt x="13" y="303"/>
                  </a:lnTo>
                  <a:lnTo>
                    <a:pt x="17" y="313"/>
                  </a:lnTo>
                  <a:lnTo>
                    <a:pt x="27" y="333"/>
                  </a:lnTo>
                  <a:lnTo>
                    <a:pt x="39" y="351"/>
                  </a:lnTo>
                  <a:lnTo>
                    <a:pt x="52" y="368"/>
                  </a:lnTo>
                  <a:lnTo>
                    <a:pt x="65" y="384"/>
                  </a:lnTo>
                  <a:lnTo>
                    <a:pt x="82" y="399"/>
                  </a:lnTo>
                  <a:lnTo>
                    <a:pt x="100" y="412"/>
                  </a:lnTo>
                  <a:lnTo>
                    <a:pt x="118" y="423"/>
                  </a:lnTo>
                  <a:lnTo>
                    <a:pt x="137" y="432"/>
                  </a:lnTo>
                  <a:lnTo>
                    <a:pt x="148" y="436"/>
                  </a:lnTo>
                  <a:lnTo>
                    <a:pt x="159" y="441"/>
                  </a:lnTo>
                  <a:lnTo>
                    <a:pt x="169" y="443"/>
                  </a:lnTo>
                  <a:lnTo>
                    <a:pt x="180" y="446"/>
                  </a:lnTo>
                  <a:lnTo>
                    <a:pt x="191" y="448"/>
                  </a:lnTo>
                  <a:lnTo>
                    <a:pt x="202" y="449"/>
                  </a:lnTo>
                  <a:lnTo>
                    <a:pt x="213" y="450"/>
                  </a:lnTo>
                  <a:lnTo>
                    <a:pt x="225" y="450"/>
                  </a:lnTo>
                  <a:lnTo>
                    <a:pt x="237" y="450"/>
                  </a:lnTo>
                  <a:lnTo>
                    <a:pt x="248" y="449"/>
                  </a:lnTo>
                  <a:lnTo>
                    <a:pt x="259" y="448"/>
                  </a:lnTo>
                  <a:lnTo>
                    <a:pt x="271" y="446"/>
                  </a:lnTo>
                  <a:lnTo>
                    <a:pt x="282" y="443"/>
                  </a:lnTo>
                  <a:lnTo>
                    <a:pt x="292" y="441"/>
                  </a:lnTo>
                  <a:lnTo>
                    <a:pt x="303" y="436"/>
                  </a:lnTo>
                  <a:lnTo>
                    <a:pt x="313" y="432"/>
                  </a:lnTo>
                  <a:lnTo>
                    <a:pt x="332" y="423"/>
                  </a:lnTo>
                  <a:lnTo>
                    <a:pt x="351" y="412"/>
                  </a:lnTo>
                  <a:lnTo>
                    <a:pt x="368" y="399"/>
                  </a:lnTo>
                  <a:lnTo>
                    <a:pt x="384" y="384"/>
                  </a:lnTo>
                  <a:lnTo>
                    <a:pt x="399" y="368"/>
                  </a:lnTo>
                  <a:lnTo>
                    <a:pt x="412" y="351"/>
                  </a:lnTo>
                  <a:lnTo>
                    <a:pt x="423" y="333"/>
                  </a:lnTo>
                  <a:lnTo>
                    <a:pt x="432" y="313"/>
                  </a:lnTo>
                  <a:lnTo>
                    <a:pt x="437" y="303"/>
                  </a:lnTo>
                  <a:lnTo>
                    <a:pt x="440" y="292"/>
                  </a:lnTo>
                  <a:lnTo>
                    <a:pt x="443" y="281"/>
                  </a:lnTo>
                  <a:lnTo>
                    <a:pt x="445" y="270"/>
                  </a:lnTo>
                  <a:lnTo>
                    <a:pt x="447" y="260"/>
                  </a:lnTo>
                  <a:lnTo>
                    <a:pt x="450" y="248"/>
                  </a:lnTo>
                  <a:lnTo>
                    <a:pt x="450" y="236"/>
                  </a:lnTo>
                  <a:lnTo>
                    <a:pt x="451" y="224"/>
                  </a:lnTo>
                  <a:lnTo>
                    <a:pt x="450" y="214"/>
                  </a:lnTo>
                  <a:lnTo>
                    <a:pt x="450" y="202"/>
                  </a:lnTo>
                  <a:lnTo>
                    <a:pt x="447" y="191"/>
                  </a:lnTo>
                  <a:lnTo>
                    <a:pt x="445" y="179"/>
                  </a:lnTo>
                  <a:lnTo>
                    <a:pt x="443" y="169"/>
                  </a:lnTo>
                  <a:lnTo>
                    <a:pt x="440" y="158"/>
                  </a:lnTo>
                  <a:lnTo>
                    <a:pt x="437" y="148"/>
                  </a:lnTo>
                  <a:lnTo>
                    <a:pt x="432" y="138"/>
                  </a:lnTo>
                  <a:lnTo>
                    <a:pt x="423" y="118"/>
                  </a:lnTo>
                  <a:lnTo>
                    <a:pt x="412" y="99"/>
                  </a:lnTo>
                  <a:lnTo>
                    <a:pt x="399" y="82"/>
                  </a:lnTo>
                  <a:lnTo>
                    <a:pt x="384" y="66"/>
                  </a:lnTo>
                  <a:lnTo>
                    <a:pt x="368" y="51"/>
                  </a:lnTo>
                  <a:lnTo>
                    <a:pt x="351" y="38"/>
                  </a:lnTo>
                  <a:lnTo>
                    <a:pt x="332" y="28"/>
                  </a:lnTo>
                  <a:lnTo>
                    <a:pt x="313" y="18"/>
                  </a:lnTo>
                  <a:lnTo>
                    <a:pt x="303" y="14"/>
                  </a:lnTo>
                  <a:lnTo>
                    <a:pt x="292" y="10"/>
                  </a:lnTo>
                  <a:lnTo>
                    <a:pt x="282" y="7"/>
                  </a:lnTo>
                  <a:lnTo>
                    <a:pt x="271" y="4"/>
                  </a:lnTo>
                  <a:lnTo>
                    <a:pt x="259" y="2"/>
                  </a:lnTo>
                  <a:lnTo>
                    <a:pt x="248" y="1"/>
                  </a:lnTo>
                  <a:lnTo>
                    <a:pt x="237" y="0"/>
                  </a:lnTo>
                  <a:lnTo>
                    <a:pt x="2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49">
              <a:extLst>
                <a:ext uri="{FF2B5EF4-FFF2-40B4-BE49-F238E27FC236}">
                  <a16:creationId xmlns:a16="http://schemas.microsoft.com/office/drawing/2014/main" id="{19761862-73A1-44AF-A4E0-8223CF91C0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7688" y="2505075"/>
              <a:ext cx="200025" cy="257175"/>
            </a:xfrm>
            <a:custGeom>
              <a:avLst/>
              <a:gdLst>
                <a:gd name="T0" fmla="*/ 250 w 630"/>
                <a:gd name="T1" fmla="*/ 88 h 811"/>
                <a:gd name="T2" fmla="*/ 257 w 630"/>
                <a:gd name="T3" fmla="*/ 75 h 811"/>
                <a:gd name="T4" fmla="*/ 263 w 630"/>
                <a:gd name="T5" fmla="*/ 52 h 811"/>
                <a:gd name="T6" fmla="*/ 291 w 630"/>
                <a:gd name="T7" fmla="*/ 33 h 811"/>
                <a:gd name="T8" fmla="*/ 354 w 630"/>
                <a:gd name="T9" fmla="*/ 37 h 811"/>
                <a:gd name="T10" fmla="*/ 374 w 630"/>
                <a:gd name="T11" fmla="*/ 56 h 811"/>
                <a:gd name="T12" fmla="*/ 378 w 630"/>
                <a:gd name="T13" fmla="*/ 78 h 811"/>
                <a:gd name="T14" fmla="*/ 387 w 630"/>
                <a:gd name="T15" fmla="*/ 89 h 811"/>
                <a:gd name="T16" fmla="*/ 179 w 630"/>
                <a:gd name="T17" fmla="*/ 240 h 811"/>
                <a:gd name="T18" fmla="*/ 53 w 630"/>
                <a:gd name="T19" fmla="*/ 779 h 811"/>
                <a:gd name="T20" fmla="*/ 30 w 630"/>
                <a:gd name="T21" fmla="*/ 748 h 811"/>
                <a:gd name="T22" fmla="*/ 75 w 630"/>
                <a:gd name="T23" fmla="*/ 180 h 811"/>
                <a:gd name="T24" fmla="*/ 62 w 630"/>
                <a:gd name="T25" fmla="*/ 187 h 811"/>
                <a:gd name="T26" fmla="*/ 60 w 630"/>
                <a:gd name="T27" fmla="*/ 740 h 811"/>
                <a:gd name="T28" fmla="*/ 68 w 630"/>
                <a:gd name="T29" fmla="*/ 750 h 811"/>
                <a:gd name="T30" fmla="*/ 361 w 630"/>
                <a:gd name="T31" fmla="*/ 750 h 811"/>
                <a:gd name="T32" fmla="*/ 370 w 630"/>
                <a:gd name="T33" fmla="*/ 740 h 811"/>
                <a:gd name="T34" fmla="*/ 366 w 630"/>
                <a:gd name="T35" fmla="*/ 726 h 811"/>
                <a:gd name="T36" fmla="*/ 90 w 630"/>
                <a:gd name="T37" fmla="*/ 721 h 811"/>
                <a:gd name="T38" fmla="*/ 151 w 630"/>
                <a:gd name="T39" fmla="*/ 261 h 811"/>
                <a:gd name="T40" fmla="*/ 161 w 630"/>
                <a:gd name="T41" fmla="*/ 270 h 811"/>
                <a:gd name="T42" fmla="*/ 474 w 630"/>
                <a:gd name="T43" fmla="*/ 268 h 811"/>
                <a:gd name="T44" fmla="*/ 480 w 630"/>
                <a:gd name="T45" fmla="*/ 256 h 811"/>
                <a:gd name="T46" fmla="*/ 541 w 630"/>
                <a:gd name="T47" fmla="*/ 366 h 811"/>
                <a:gd name="T48" fmla="*/ 552 w 630"/>
                <a:gd name="T49" fmla="*/ 376 h 811"/>
                <a:gd name="T50" fmla="*/ 566 w 630"/>
                <a:gd name="T51" fmla="*/ 371 h 811"/>
                <a:gd name="T52" fmla="*/ 570 w 630"/>
                <a:gd name="T53" fmla="*/ 195 h 811"/>
                <a:gd name="T54" fmla="*/ 564 w 630"/>
                <a:gd name="T55" fmla="*/ 183 h 811"/>
                <a:gd name="T56" fmla="*/ 480 w 630"/>
                <a:gd name="T57" fmla="*/ 150 h 811"/>
                <a:gd name="T58" fmla="*/ 602 w 630"/>
                <a:gd name="T59" fmla="*/ 365 h 811"/>
                <a:gd name="T60" fmla="*/ 615 w 630"/>
                <a:gd name="T61" fmla="*/ 371 h 811"/>
                <a:gd name="T62" fmla="*/ 628 w 630"/>
                <a:gd name="T63" fmla="*/ 365 h 811"/>
                <a:gd name="T64" fmla="*/ 630 w 630"/>
                <a:gd name="T65" fmla="*/ 133 h 811"/>
                <a:gd name="T66" fmla="*/ 621 w 630"/>
                <a:gd name="T67" fmla="*/ 121 h 811"/>
                <a:gd name="T68" fmla="*/ 479 w 630"/>
                <a:gd name="T69" fmla="*/ 72 h 811"/>
                <a:gd name="T70" fmla="*/ 471 w 630"/>
                <a:gd name="T71" fmla="*/ 61 h 811"/>
                <a:gd name="T72" fmla="*/ 400 w 630"/>
                <a:gd name="T73" fmla="*/ 41 h 811"/>
                <a:gd name="T74" fmla="*/ 380 w 630"/>
                <a:gd name="T75" fmla="*/ 17 h 811"/>
                <a:gd name="T76" fmla="*/ 340 w 630"/>
                <a:gd name="T77" fmla="*/ 1 h 811"/>
                <a:gd name="T78" fmla="*/ 284 w 630"/>
                <a:gd name="T79" fmla="*/ 3 h 811"/>
                <a:gd name="T80" fmla="*/ 249 w 630"/>
                <a:gd name="T81" fmla="*/ 22 h 811"/>
                <a:gd name="T82" fmla="*/ 231 w 630"/>
                <a:gd name="T83" fmla="*/ 52 h 811"/>
                <a:gd name="T84" fmla="*/ 156 w 630"/>
                <a:gd name="T85" fmla="*/ 63 h 811"/>
                <a:gd name="T86" fmla="*/ 150 w 630"/>
                <a:gd name="T87" fmla="*/ 75 h 811"/>
                <a:gd name="T88" fmla="*/ 6 w 630"/>
                <a:gd name="T89" fmla="*/ 123 h 811"/>
                <a:gd name="T90" fmla="*/ 0 w 630"/>
                <a:gd name="T91" fmla="*/ 135 h 811"/>
                <a:gd name="T92" fmla="*/ 4 w 630"/>
                <a:gd name="T93" fmla="*/ 770 h 811"/>
                <a:gd name="T94" fmla="*/ 23 w 630"/>
                <a:gd name="T95" fmla="*/ 797 h 811"/>
                <a:gd name="T96" fmla="*/ 56 w 630"/>
                <a:gd name="T97" fmla="*/ 810 h 811"/>
                <a:gd name="T98" fmla="*/ 380 w 630"/>
                <a:gd name="T99" fmla="*/ 810 h 811"/>
                <a:gd name="T100" fmla="*/ 389 w 630"/>
                <a:gd name="T101" fmla="*/ 800 h 811"/>
                <a:gd name="T102" fmla="*/ 385 w 630"/>
                <a:gd name="T103" fmla="*/ 786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0" h="811">
                  <a:moveTo>
                    <a:pt x="179" y="90"/>
                  </a:moveTo>
                  <a:lnTo>
                    <a:pt x="242" y="90"/>
                  </a:lnTo>
                  <a:lnTo>
                    <a:pt x="245" y="90"/>
                  </a:lnTo>
                  <a:lnTo>
                    <a:pt x="247" y="89"/>
                  </a:lnTo>
                  <a:lnTo>
                    <a:pt x="250" y="88"/>
                  </a:lnTo>
                  <a:lnTo>
                    <a:pt x="252" y="86"/>
                  </a:lnTo>
                  <a:lnTo>
                    <a:pt x="254" y="84"/>
                  </a:lnTo>
                  <a:lnTo>
                    <a:pt x="255" y="81"/>
                  </a:lnTo>
                  <a:lnTo>
                    <a:pt x="257" y="78"/>
                  </a:lnTo>
                  <a:lnTo>
                    <a:pt x="257" y="75"/>
                  </a:lnTo>
                  <a:lnTo>
                    <a:pt x="257" y="70"/>
                  </a:lnTo>
                  <a:lnTo>
                    <a:pt x="258" y="64"/>
                  </a:lnTo>
                  <a:lnTo>
                    <a:pt x="259" y="60"/>
                  </a:lnTo>
                  <a:lnTo>
                    <a:pt x="261" y="56"/>
                  </a:lnTo>
                  <a:lnTo>
                    <a:pt x="263" y="52"/>
                  </a:lnTo>
                  <a:lnTo>
                    <a:pt x="265" y="47"/>
                  </a:lnTo>
                  <a:lnTo>
                    <a:pt x="268" y="44"/>
                  </a:lnTo>
                  <a:lnTo>
                    <a:pt x="271" y="42"/>
                  </a:lnTo>
                  <a:lnTo>
                    <a:pt x="280" y="37"/>
                  </a:lnTo>
                  <a:lnTo>
                    <a:pt x="291" y="33"/>
                  </a:lnTo>
                  <a:lnTo>
                    <a:pt x="304" y="31"/>
                  </a:lnTo>
                  <a:lnTo>
                    <a:pt x="318" y="30"/>
                  </a:lnTo>
                  <a:lnTo>
                    <a:pt x="331" y="31"/>
                  </a:lnTo>
                  <a:lnTo>
                    <a:pt x="344" y="33"/>
                  </a:lnTo>
                  <a:lnTo>
                    <a:pt x="354" y="37"/>
                  </a:lnTo>
                  <a:lnTo>
                    <a:pt x="362" y="42"/>
                  </a:lnTo>
                  <a:lnTo>
                    <a:pt x="367" y="44"/>
                  </a:lnTo>
                  <a:lnTo>
                    <a:pt x="370" y="47"/>
                  </a:lnTo>
                  <a:lnTo>
                    <a:pt x="372" y="52"/>
                  </a:lnTo>
                  <a:lnTo>
                    <a:pt x="374" y="56"/>
                  </a:lnTo>
                  <a:lnTo>
                    <a:pt x="376" y="60"/>
                  </a:lnTo>
                  <a:lnTo>
                    <a:pt x="377" y="64"/>
                  </a:lnTo>
                  <a:lnTo>
                    <a:pt x="377" y="70"/>
                  </a:lnTo>
                  <a:lnTo>
                    <a:pt x="378" y="75"/>
                  </a:lnTo>
                  <a:lnTo>
                    <a:pt x="378" y="78"/>
                  </a:lnTo>
                  <a:lnTo>
                    <a:pt x="380" y="81"/>
                  </a:lnTo>
                  <a:lnTo>
                    <a:pt x="381" y="84"/>
                  </a:lnTo>
                  <a:lnTo>
                    <a:pt x="383" y="86"/>
                  </a:lnTo>
                  <a:lnTo>
                    <a:pt x="385" y="88"/>
                  </a:lnTo>
                  <a:lnTo>
                    <a:pt x="387" y="89"/>
                  </a:lnTo>
                  <a:lnTo>
                    <a:pt x="390" y="90"/>
                  </a:lnTo>
                  <a:lnTo>
                    <a:pt x="393" y="90"/>
                  </a:lnTo>
                  <a:lnTo>
                    <a:pt x="450" y="90"/>
                  </a:lnTo>
                  <a:lnTo>
                    <a:pt x="450" y="240"/>
                  </a:lnTo>
                  <a:lnTo>
                    <a:pt x="179" y="240"/>
                  </a:lnTo>
                  <a:lnTo>
                    <a:pt x="179" y="90"/>
                  </a:lnTo>
                  <a:close/>
                  <a:moveTo>
                    <a:pt x="374" y="781"/>
                  </a:moveTo>
                  <a:lnTo>
                    <a:pt x="75" y="781"/>
                  </a:lnTo>
                  <a:lnTo>
                    <a:pt x="63" y="780"/>
                  </a:lnTo>
                  <a:lnTo>
                    <a:pt x="53" y="779"/>
                  </a:lnTo>
                  <a:lnTo>
                    <a:pt x="46" y="776"/>
                  </a:lnTo>
                  <a:lnTo>
                    <a:pt x="39" y="772"/>
                  </a:lnTo>
                  <a:lnTo>
                    <a:pt x="35" y="765"/>
                  </a:lnTo>
                  <a:lnTo>
                    <a:pt x="32" y="758"/>
                  </a:lnTo>
                  <a:lnTo>
                    <a:pt x="30" y="748"/>
                  </a:lnTo>
                  <a:lnTo>
                    <a:pt x="30" y="736"/>
                  </a:lnTo>
                  <a:lnTo>
                    <a:pt x="30" y="150"/>
                  </a:lnTo>
                  <a:lnTo>
                    <a:pt x="150" y="150"/>
                  </a:lnTo>
                  <a:lnTo>
                    <a:pt x="150" y="180"/>
                  </a:lnTo>
                  <a:lnTo>
                    <a:pt x="75" y="180"/>
                  </a:lnTo>
                  <a:lnTo>
                    <a:pt x="71" y="181"/>
                  </a:lnTo>
                  <a:lnTo>
                    <a:pt x="68" y="182"/>
                  </a:lnTo>
                  <a:lnTo>
                    <a:pt x="66" y="183"/>
                  </a:lnTo>
                  <a:lnTo>
                    <a:pt x="64" y="185"/>
                  </a:lnTo>
                  <a:lnTo>
                    <a:pt x="62" y="187"/>
                  </a:lnTo>
                  <a:lnTo>
                    <a:pt x="61" y="190"/>
                  </a:lnTo>
                  <a:lnTo>
                    <a:pt x="60" y="193"/>
                  </a:lnTo>
                  <a:lnTo>
                    <a:pt x="60" y="195"/>
                  </a:lnTo>
                  <a:lnTo>
                    <a:pt x="60" y="736"/>
                  </a:lnTo>
                  <a:lnTo>
                    <a:pt x="60" y="740"/>
                  </a:lnTo>
                  <a:lnTo>
                    <a:pt x="61" y="742"/>
                  </a:lnTo>
                  <a:lnTo>
                    <a:pt x="62" y="745"/>
                  </a:lnTo>
                  <a:lnTo>
                    <a:pt x="64" y="747"/>
                  </a:lnTo>
                  <a:lnTo>
                    <a:pt x="66" y="748"/>
                  </a:lnTo>
                  <a:lnTo>
                    <a:pt x="68" y="750"/>
                  </a:lnTo>
                  <a:lnTo>
                    <a:pt x="71" y="750"/>
                  </a:lnTo>
                  <a:lnTo>
                    <a:pt x="75" y="751"/>
                  </a:lnTo>
                  <a:lnTo>
                    <a:pt x="355" y="751"/>
                  </a:lnTo>
                  <a:lnTo>
                    <a:pt x="358" y="750"/>
                  </a:lnTo>
                  <a:lnTo>
                    <a:pt x="361" y="750"/>
                  </a:lnTo>
                  <a:lnTo>
                    <a:pt x="364" y="748"/>
                  </a:lnTo>
                  <a:lnTo>
                    <a:pt x="366" y="747"/>
                  </a:lnTo>
                  <a:lnTo>
                    <a:pt x="368" y="745"/>
                  </a:lnTo>
                  <a:lnTo>
                    <a:pt x="369" y="742"/>
                  </a:lnTo>
                  <a:lnTo>
                    <a:pt x="370" y="740"/>
                  </a:lnTo>
                  <a:lnTo>
                    <a:pt x="370" y="736"/>
                  </a:lnTo>
                  <a:lnTo>
                    <a:pt x="370" y="733"/>
                  </a:lnTo>
                  <a:lnTo>
                    <a:pt x="369" y="730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4" y="724"/>
                  </a:lnTo>
                  <a:lnTo>
                    <a:pt x="361" y="723"/>
                  </a:lnTo>
                  <a:lnTo>
                    <a:pt x="358" y="721"/>
                  </a:lnTo>
                  <a:lnTo>
                    <a:pt x="355" y="721"/>
                  </a:lnTo>
                  <a:lnTo>
                    <a:pt x="90" y="721"/>
                  </a:lnTo>
                  <a:lnTo>
                    <a:pt x="90" y="210"/>
                  </a:lnTo>
                  <a:lnTo>
                    <a:pt x="150" y="210"/>
                  </a:lnTo>
                  <a:lnTo>
                    <a:pt x="150" y="256"/>
                  </a:lnTo>
                  <a:lnTo>
                    <a:pt x="150" y="259"/>
                  </a:lnTo>
                  <a:lnTo>
                    <a:pt x="151" y="261"/>
                  </a:lnTo>
                  <a:lnTo>
                    <a:pt x="152" y="264"/>
                  </a:lnTo>
                  <a:lnTo>
                    <a:pt x="154" y="267"/>
                  </a:lnTo>
                  <a:lnTo>
                    <a:pt x="156" y="268"/>
                  </a:lnTo>
                  <a:lnTo>
                    <a:pt x="159" y="270"/>
                  </a:lnTo>
                  <a:lnTo>
                    <a:pt x="161" y="270"/>
                  </a:lnTo>
                  <a:lnTo>
                    <a:pt x="164" y="271"/>
                  </a:lnTo>
                  <a:lnTo>
                    <a:pt x="465" y="271"/>
                  </a:lnTo>
                  <a:lnTo>
                    <a:pt x="468" y="270"/>
                  </a:lnTo>
                  <a:lnTo>
                    <a:pt x="471" y="270"/>
                  </a:lnTo>
                  <a:lnTo>
                    <a:pt x="474" y="268"/>
                  </a:lnTo>
                  <a:lnTo>
                    <a:pt x="476" y="267"/>
                  </a:lnTo>
                  <a:lnTo>
                    <a:pt x="477" y="264"/>
                  </a:lnTo>
                  <a:lnTo>
                    <a:pt x="479" y="261"/>
                  </a:lnTo>
                  <a:lnTo>
                    <a:pt x="479" y="259"/>
                  </a:lnTo>
                  <a:lnTo>
                    <a:pt x="480" y="256"/>
                  </a:lnTo>
                  <a:lnTo>
                    <a:pt x="480" y="210"/>
                  </a:lnTo>
                  <a:lnTo>
                    <a:pt x="540" y="210"/>
                  </a:lnTo>
                  <a:lnTo>
                    <a:pt x="540" y="361"/>
                  </a:lnTo>
                  <a:lnTo>
                    <a:pt x="540" y="364"/>
                  </a:lnTo>
                  <a:lnTo>
                    <a:pt x="541" y="366"/>
                  </a:lnTo>
                  <a:lnTo>
                    <a:pt x="542" y="369"/>
                  </a:lnTo>
                  <a:lnTo>
                    <a:pt x="544" y="371"/>
                  </a:lnTo>
                  <a:lnTo>
                    <a:pt x="546" y="374"/>
                  </a:lnTo>
                  <a:lnTo>
                    <a:pt x="549" y="375"/>
                  </a:lnTo>
                  <a:lnTo>
                    <a:pt x="552" y="376"/>
                  </a:lnTo>
                  <a:lnTo>
                    <a:pt x="555" y="376"/>
                  </a:lnTo>
                  <a:lnTo>
                    <a:pt x="558" y="376"/>
                  </a:lnTo>
                  <a:lnTo>
                    <a:pt x="560" y="375"/>
                  </a:lnTo>
                  <a:lnTo>
                    <a:pt x="564" y="374"/>
                  </a:lnTo>
                  <a:lnTo>
                    <a:pt x="566" y="371"/>
                  </a:lnTo>
                  <a:lnTo>
                    <a:pt x="568" y="369"/>
                  </a:lnTo>
                  <a:lnTo>
                    <a:pt x="569" y="367"/>
                  </a:lnTo>
                  <a:lnTo>
                    <a:pt x="570" y="364"/>
                  </a:lnTo>
                  <a:lnTo>
                    <a:pt x="570" y="361"/>
                  </a:lnTo>
                  <a:lnTo>
                    <a:pt x="570" y="195"/>
                  </a:lnTo>
                  <a:lnTo>
                    <a:pt x="570" y="193"/>
                  </a:lnTo>
                  <a:lnTo>
                    <a:pt x="569" y="190"/>
                  </a:lnTo>
                  <a:lnTo>
                    <a:pt x="568" y="187"/>
                  </a:lnTo>
                  <a:lnTo>
                    <a:pt x="566" y="185"/>
                  </a:lnTo>
                  <a:lnTo>
                    <a:pt x="564" y="183"/>
                  </a:lnTo>
                  <a:lnTo>
                    <a:pt x="560" y="182"/>
                  </a:lnTo>
                  <a:lnTo>
                    <a:pt x="558" y="181"/>
                  </a:lnTo>
                  <a:lnTo>
                    <a:pt x="555" y="180"/>
                  </a:lnTo>
                  <a:lnTo>
                    <a:pt x="480" y="180"/>
                  </a:lnTo>
                  <a:lnTo>
                    <a:pt x="480" y="150"/>
                  </a:lnTo>
                  <a:lnTo>
                    <a:pt x="600" y="150"/>
                  </a:lnTo>
                  <a:lnTo>
                    <a:pt x="600" y="357"/>
                  </a:lnTo>
                  <a:lnTo>
                    <a:pt x="600" y="360"/>
                  </a:lnTo>
                  <a:lnTo>
                    <a:pt x="601" y="362"/>
                  </a:lnTo>
                  <a:lnTo>
                    <a:pt x="602" y="365"/>
                  </a:lnTo>
                  <a:lnTo>
                    <a:pt x="604" y="367"/>
                  </a:lnTo>
                  <a:lnTo>
                    <a:pt x="606" y="368"/>
                  </a:lnTo>
                  <a:lnTo>
                    <a:pt x="610" y="370"/>
                  </a:lnTo>
                  <a:lnTo>
                    <a:pt x="612" y="370"/>
                  </a:lnTo>
                  <a:lnTo>
                    <a:pt x="615" y="371"/>
                  </a:lnTo>
                  <a:lnTo>
                    <a:pt x="618" y="370"/>
                  </a:lnTo>
                  <a:lnTo>
                    <a:pt x="621" y="370"/>
                  </a:lnTo>
                  <a:lnTo>
                    <a:pt x="624" y="368"/>
                  </a:lnTo>
                  <a:lnTo>
                    <a:pt x="626" y="367"/>
                  </a:lnTo>
                  <a:lnTo>
                    <a:pt x="628" y="365"/>
                  </a:lnTo>
                  <a:lnTo>
                    <a:pt x="629" y="362"/>
                  </a:lnTo>
                  <a:lnTo>
                    <a:pt x="630" y="360"/>
                  </a:lnTo>
                  <a:lnTo>
                    <a:pt x="630" y="357"/>
                  </a:lnTo>
                  <a:lnTo>
                    <a:pt x="630" y="135"/>
                  </a:lnTo>
                  <a:lnTo>
                    <a:pt x="630" y="133"/>
                  </a:lnTo>
                  <a:lnTo>
                    <a:pt x="629" y="130"/>
                  </a:lnTo>
                  <a:lnTo>
                    <a:pt x="628" y="127"/>
                  </a:lnTo>
                  <a:lnTo>
                    <a:pt x="626" y="125"/>
                  </a:lnTo>
                  <a:lnTo>
                    <a:pt x="624" y="123"/>
                  </a:lnTo>
                  <a:lnTo>
                    <a:pt x="621" y="121"/>
                  </a:lnTo>
                  <a:lnTo>
                    <a:pt x="618" y="121"/>
                  </a:lnTo>
                  <a:lnTo>
                    <a:pt x="615" y="120"/>
                  </a:lnTo>
                  <a:lnTo>
                    <a:pt x="480" y="120"/>
                  </a:lnTo>
                  <a:lnTo>
                    <a:pt x="480" y="75"/>
                  </a:lnTo>
                  <a:lnTo>
                    <a:pt x="479" y="72"/>
                  </a:lnTo>
                  <a:lnTo>
                    <a:pt x="479" y="70"/>
                  </a:lnTo>
                  <a:lnTo>
                    <a:pt x="477" y="68"/>
                  </a:lnTo>
                  <a:lnTo>
                    <a:pt x="476" y="64"/>
                  </a:lnTo>
                  <a:lnTo>
                    <a:pt x="474" y="63"/>
                  </a:lnTo>
                  <a:lnTo>
                    <a:pt x="471" y="61"/>
                  </a:lnTo>
                  <a:lnTo>
                    <a:pt x="468" y="60"/>
                  </a:lnTo>
                  <a:lnTo>
                    <a:pt x="465" y="60"/>
                  </a:lnTo>
                  <a:lnTo>
                    <a:pt x="406" y="60"/>
                  </a:lnTo>
                  <a:lnTo>
                    <a:pt x="404" y="52"/>
                  </a:lnTo>
                  <a:lnTo>
                    <a:pt x="400" y="41"/>
                  </a:lnTo>
                  <a:lnTo>
                    <a:pt x="398" y="37"/>
                  </a:lnTo>
                  <a:lnTo>
                    <a:pt x="393" y="31"/>
                  </a:lnTo>
                  <a:lnTo>
                    <a:pt x="390" y="26"/>
                  </a:lnTo>
                  <a:lnTo>
                    <a:pt x="385" y="22"/>
                  </a:lnTo>
                  <a:lnTo>
                    <a:pt x="380" y="17"/>
                  </a:lnTo>
                  <a:lnTo>
                    <a:pt x="374" y="13"/>
                  </a:lnTo>
                  <a:lnTo>
                    <a:pt x="367" y="10"/>
                  </a:lnTo>
                  <a:lnTo>
                    <a:pt x="359" y="7"/>
                  </a:lnTo>
                  <a:lnTo>
                    <a:pt x="350" y="3"/>
                  </a:lnTo>
                  <a:lnTo>
                    <a:pt x="340" y="1"/>
                  </a:lnTo>
                  <a:lnTo>
                    <a:pt x="329" y="0"/>
                  </a:lnTo>
                  <a:lnTo>
                    <a:pt x="318" y="0"/>
                  </a:lnTo>
                  <a:lnTo>
                    <a:pt x="306" y="0"/>
                  </a:lnTo>
                  <a:lnTo>
                    <a:pt x="294" y="1"/>
                  </a:lnTo>
                  <a:lnTo>
                    <a:pt x="284" y="3"/>
                  </a:lnTo>
                  <a:lnTo>
                    <a:pt x="276" y="7"/>
                  </a:lnTo>
                  <a:lnTo>
                    <a:pt x="268" y="10"/>
                  </a:lnTo>
                  <a:lnTo>
                    <a:pt x="261" y="13"/>
                  </a:lnTo>
                  <a:lnTo>
                    <a:pt x="254" y="17"/>
                  </a:lnTo>
                  <a:lnTo>
                    <a:pt x="249" y="22"/>
                  </a:lnTo>
                  <a:lnTo>
                    <a:pt x="245" y="26"/>
                  </a:lnTo>
                  <a:lnTo>
                    <a:pt x="240" y="31"/>
                  </a:lnTo>
                  <a:lnTo>
                    <a:pt x="237" y="37"/>
                  </a:lnTo>
                  <a:lnTo>
                    <a:pt x="234" y="41"/>
                  </a:lnTo>
                  <a:lnTo>
                    <a:pt x="231" y="52"/>
                  </a:lnTo>
                  <a:lnTo>
                    <a:pt x="228" y="60"/>
                  </a:lnTo>
                  <a:lnTo>
                    <a:pt x="164" y="60"/>
                  </a:lnTo>
                  <a:lnTo>
                    <a:pt x="161" y="60"/>
                  </a:lnTo>
                  <a:lnTo>
                    <a:pt x="159" y="61"/>
                  </a:lnTo>
                  <a:lnTo>
                    <a:pt x="156" y="63"/>
                  </a:lnTo>
                  <a:lnTo>
                    <a:pt x="154" y="64"/>
                  </a:lnTo>
                  <a:lnTo>
                    <a:pt x="152" y="68"/>
                  </a:lnTo>
                  <a:lnTo>
                    <a:pt x="151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1" y="121"/>
                  </a:lnTo>
                  <a:lnTo>
                    <a:pt x="8" y="121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736"/>
                  </a:lnTo>
                  <a:lnTo>
                    <a:pt x="0" y="745"/>
                  </a:lnTo>
                  <a:lnTo>
                    <a:pt x="1" y="754"/>
                  </a:lnTo>
                  <a:lnTo>
                    <a:pt x="2" y="762"/>
                  </a:lnTo>
                  <a:lnTo>
                    <a:pt x="4" y="770"/>
                  </a:lnTo>
                  <a:lnTo>
                    <a:pt x="7" y="776"/>
                  </a:lnTo>
                  <a:lnTo>
                    <a:pt x="10" y="782"/>
                  </a:lnTo>
                  <a:lnTo>
                    <a:pt x="14" y="788"/>
                  </a:lnTo>
                  <a:lnTo>
                    <a:pt x="18" y="793"/>
                  </a:lnTo>
                  <a:lnTo>
                    <a:pt x="23" y="797"/>
                  </a:lnTo>
                  <a:lnTo>
                    <a:pt x="29" y="801"/>
                  </a:lnTo>
                  <a:lnTo>
                    <a:pt x="35" y="804"/>
                  </a:lnTo>
                  <a:lnTo>
                    <a:pt x="41" y="807"/>
                  </a:lnTo>
                  <a:lnTo>
                    <a:pt x="49" y="808"/>
                  </a:lnTo>
                  <a:lnTo>
                    <a:pt x="56" y="810"/>
                  </a:lnTo>
                  <a:lnTo>
                    <a:pt x="65" y="811"/>
                  </a:lnTo>
                  <a:lnTo>
                    <a:pt x="75" y="811"/>
                  </a:lnTo>
                  <a:lnTo>
                    <a:pt x="374" y="811"/>
                  </a:lnTo>
                  <a:lnTo>
                    <a:pt x="377" y="811"/>
                  </a:lnTo>
                  <a:lnTo>
                    <a:pt x="380" y="810"/>
                  </a:lnTo>
                  <a:lnTo>
                    <a:pt x="383" y="809"/>
                  </a:lnTo>
                  <a:lnTo>
                    <a:pt x="385" y="807"/>
                  </a:lnTo>
                  <a:lnTo>
                    <a:pt x="387" y="805"/>
                  </a:lnTo>
                  <a:lnTo>
                    <a:pt x="388" y="803"/>
                  </a:lnTo>
                  <a:lnTo>
                    <a:pt x="389" y="800"/>
                  </a:lnTo>
                  <a:lnTo>
                    <a:pt x="389" y="796"/>
                  </a:lnTo>
                  <a:lnTo>
                    <a:pt x="389" y="793"/>
                  </a:lnTo>
                  <a:lnTo>
                    <a:pt x="388" y="791"/>
                  </a:lnTo>
                  <a:lnTo>
                    <a:pt x="387" y="788"/>
                  </a:lnTo>
                  <a:lnTo>
                    <a:pt x="385" y="786"/>
                  </a:lnTo>
                  <a:lnTo>
                    <a:pt x="383" y="784"/>
                  </a:lnTo>
                  <a:lnTo>
                    <a:pt x="380" y="782"/>
                  </a:lnTo>
                  <a:lnTo>
                    <a:pt x="377" y="781"/>
                  </a:lnTo>
                  <a:lnTo>
                    <a:pt x="374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50">
              <a:extLst>
                <a:ext uri="{FF2B5EF4-FFF2-40B4-BE49-F238E27FC236}">
                  <a16:creationId xmlns:a16="http://schemas.microsoft.com/office/drawing/2014/main" id="{BC360C8C-685C-4914-B1EE-0C3CAB39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09850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0 h 30"/>
                <a:gd name="T24" fmla="*/ 2 w 219"/>
                <a:gd name="T25" fmla="*/ 23 h 30"/>
                <a:gd name="T26" fmla="*/ 4 w 219"/>
                <a:gd name="T27" fmla="*/ 26 h 30"/>
                <a:gd name="T28" fmla="*/ 7 w 219"/>
                <a:gd name="T29" fmla="*/ 28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29 h 30"/>
                <a:gd name="T40" fmla="*/ 210 w 219"/>
                <a:gd name="T41" fmla="*/ 29 h 30"/>
                <a:gd name="T42" fmla="*/ 212 w 219"/>
                <a:gd name="T43" fmla="*/ 28 h 30"/>
                <a:gd name="T44" fmla="*/ 214 w 219"/>
                <a:gd name="T45" fmla="*/ 26 h 30"/>
                <a:gd name="T46" fmla="*/ 216 w 219"/>
                <a:gd name="T47" fmla="*/ 23 h 30"/>
                <a:gd name="T48" fmla="*/ 218 w 219"/>
                <a:gd name="T49" fmla="*/ 20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6 h 30"/>
                <a:gd name="T60" fmla="*/ 214 w 219"/>
                <a:gd name="T61" fmla="*/ 4 h 30"/>
                <a:gd name="T62" fmla="*/ 212 w 219"/>
                <a:gd name="T63" fmla="*/ 2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29"/>
                  </a:lnTo>
                  <a:lnTo>
                    <a:pt x="210" y="29"/>
                  </a:lnTo>
                  <a:lnTo>
                    <a:pt x="212" y="28"/>
                  </a:lnTo>
                  <a:lnTo>
                    <a:pt x="214" y="26"/>
                  </a:lnTo>
                  <a:lnTo>
                    <a:pt x="216" y="23"/>
                  </a:lnTo>
                  <a:lnTo>
                    <a:pt x="218" y="20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4" y="4"/>
                  </a:lnTo>
                  <a:lnTo>
                    <a:pt x="212" y="2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1">
              <a:extLst>
                <a:ext uri="{FF2B5EF4-FFF2-40B4-BE49-F238E27FC236}">
                  <a16:creationId xmlns:a16="http://schemas.microsoft.com/office/drawing/2014/main" id="{BA80A96B-BB86-4559-9212-E2CDFA5CA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38425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1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7 w 219"/>
                <a:gd name="T29" fmla="*/ 28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30 h 30"/>
                <a:gd name="T40" fmla="*/ 210 w 219"/>
                <a:gd name="T41" fmla="*/ 29 h 30"/>
                <a:gd name="T42" fmla="*/ 212 w 219"/>
                <a:gd name="T43" fmla="*/ 28 h 30"/>
                <a:gd name="T44" fmla="*/ 214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1 h 30"/>
                <a:gd name="T56" fmla="*/ 218 w 219"/>
                <a:gd name="T57" fmla="*/ 9 h 30"/>
                <a:gd name="T58" fmla="*/ 216 w 219"/>
                <a:gd name="T59" fmla="*/ 6 h 30"/>
                <a:gd name="T60" fmla="*/ 214 w 219"/>
                <a:gd name="T61" fmla="*/ 4 h 30"/>
                <a:gd name="T62" fmla="*/ 212 w 219"/>
                <a:gd name="T63" fmla="*/ 2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29"/>
                  </a:lnTo>
                  <a:lnTo>
                    <a:pt x="212" y="28"/>
                  </a:lnTo>
                  <a:lnTo>
                    <a:pt x="214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1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4" y="4"/>
                  </a:lnTo>
                  <a:lnTo>
                    <a:pt x="212" y="2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52">
              <a:extLst>
                <a:ext uri="{FF2B5EF4-FFF2-40B4-BE49-F238E27FC236}">
                  <a16:creationId xmlns:a16="http://schemas.microsoft.com/office/drawing/2014/main" id="{3E23AAC5-48B7-4600-A249-CEF6F22F7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67000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3 h 30"/>
                <a:gd name="T10" fmla="*/ 4 w 219"/>
                <a:gd name="T11" fmla="*/ 4 h 30"/>
                <a:gd name="T12" fmla="*/ 2 w 219"/>
                <a:gd name="T13" fmla="*/ 7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7 w 219"/>
                <a:gd name="T29" fmla="*/ 27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30 h 30"/>
                <a:gd name="T40" fmla="*/ 210 w 219"/>
                <a:gd name="T41" fmla="*/ 29 h 30"/>
                <a:gd name="T42" fmla="*/ 212 w 219"/>
                <a:gd name="T43" fmla="*/ 27 h 30"/>
                <a:gd name="T44" fmla="*/ 214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7 h 30"/>
                <a:gd name="T60" fmla="*/ 214 w 219"/>
                <a:gd name="T61" fmla="*/ 4 h 30"/>
                <a:gd name="T62" fmla="*/ 212 w 219"/>
                <a:gd name="T63" fmla="*/ 3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29"/>
                  </a:lnTo>
                  <a:lnTo>
                    <a:pt x="212" y="27"/>
                  </a:lnTo>
                  <a:lnTo>
                    <a:pt x="214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7"/>
                  </a:lnTo>
                  <a:lnTo>
                    <a:pt x="214" y="4"/>
                  </a:lnTo>
                  <a:lnTo>
                    <a:pt x="212" y="3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3">
              <a:extLst>
                <a:ext uri="{FF2B5EF4-FFF2-40B4-BE49-F238E27FC236}">
                  <a16:creationId xmlns:a16="http://schemas.microsoft.com/office/drawing/2014/main" id="{C169358B-E013-4880-815F-2740E94DD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95575"/>
              <a:ext cx="46038" cy="9525"/>
            </a:xfrm>
            <a:custGeom>
              <a:avLst/>
              <a:gdLst>
                <a:gd name="T0" fmla="*/ 129 w 143"/>
                <a:gd name="T1" fmla="*/ 29 h 29"/>
                <a:gd name="T2" fmla="*/ 132 w 143"/>
                <a:gd name="T3" fmla="*/ 29 h 29"/>
                <a:gd name="T4" fmla="*/ 134 w 143"/>
                <a:gd name="T5" fmla="*/ 28 h 29"/>
                <a:gd name="T6" fmla="*/ 137 w 143"/>
                <a:gd name="T7" fmla="*/ 27 h 29"/>
                <a:gd name="T8" fmla="*/ 139 w 143"/>
                <a:gd name="T9" fmla="*/ 26 h 29"/>
                <a:gd name="T10" fmla="*/ 140 w 143"/>
                <a:gd name="T11" fmla="*/ 23 h 29"/>
                <a:gd name="T12" fmla="*/ 142 w 143"/>
                <a:gd name="T13" fmla="*/ 21 h 29"/>
                <a:gd name="T14" fmla="*/ 143 w 143"/>
                <a:gd name="T15" fmla="*/ 18 h 29"/>
                <a:gd name="T16" fmla="*/ 143 w 143"/>
                <a:gd name="T17" fmla="*/ 14 h 29"/>
                <a:gd name="T18" fmla="*/ 143 w 143"/>
                <a:gd name="T19" fmla="*/ 12 h 29"/>
                <a:gd name="T20" fmla="*/ 142 w 143"/>
                <a:gd name="T21" fmla="*/ 9 h 29"/>
                <a:gd name="T22" fmla="*/ 140 w 143"/>
                <a:gd name="T23" fmla="*/ 7 h 29"/>
                <a:gd name="T24" fmla="*/ 139 w 143"/>
                <a:gd name="T25" fmla="*/ 5 h 29"/>
                <a:gd name="T26" fmla="*/ 137 w 143"/>
                <a:gd name="T27" fmla="*/ 3 h 29"/>
                <a:gd name="T28" fmla="*/ 134 w 143"/>
                <a:gd name="T29" fmla="*/ 2 h 29"/>
                <a:gd name="T30" fmla="*/ 132 w 143"/>
                <a:gd name="T31" fmla="*/ 1 h 29"/>
                <a:gd name="T32" fmla="*/ 129 w 143"/>
                <a:gd name="T33" fmla="*/ 0 h 29"/>
                <a:gd name="T34" fmla="*/ 15 w 143"/>
                <a:gd name="T35" fmla="*/ 0 h 29"/>
                <a:gd name="T36" fmla="*/ 12 w 143"/>
                <a:gd name="T37" fmla="*/ 1 h 29"/>
                <a:gd name="T38" fmla="*/ 9 w 143"/>
                <a:gd name="T39" fmla="*/ 2 h 29"/>
                <a:gd name="T40" fmla="*/ 7 w 143"/>
                <a:gd name="T41" fmla="*/ 3 h 29"/>
                <a:gd name="T42" fmla="*/ 4 w 143"/>
                <a:gd name="T43" fmla="*/ 5 h 29"/>
                <a:gd name="T44" fmla="*/ 2 w 143"/>
                <a:gd name="T45" fmla="*/ 7 h 29"/>
                <a:gd name="T46" fmla="*/ 1 w 143"/>
                <a:gd name="T47" fmla="*/ 9 h 29"/>
                <a:gd name="T48" fmla="*/ 0 w 143"/>
                <a:gd name="T49" fmla="*/ 12 h 29"/>
                <a:gd name="T50" fmla="*/ 0 w 143"/>
                <a:gd name="T51" fmla="*/ 14 h 29"/>
                <a:gd name="T52" fmla="*/ 0 w 143"/>
                <a:gd name="T53" fmla="*/ 18 h 29"/>
                <a:gd name="T54" fmla="*/ 1 w 143"/>
                <a:gd name="T55" fmla="*/ 21 h 29"/>
                <a:gd name="T56" fmla="*/ 2 w 143"/>
                <a:gd name="T57" fmla="*/ 23 h 29"/>
                <a:gd name="T58" fmla="*/ 4 w 143"/>
                <a:gd name="T59" fmla="*/ 26 h 29"/>
                <a:gd name="T60" fmla="*/ 7 w 143"/>
                <a:gd name="T61" fmla="*/ 27 h 29"/>
                <a:gd name="T62" fmla="*/ 9 w 143"/>
                <a:gd name="T63" fmla="*/ 28 h 29"/>
                <a:gd name="T64" fmla="*/ 12 w 143"/>
                <a:gd name="T65" fmla="*/ 29 h 29"/>
                <a:gd name="T66" fmla="*/ 15 w 143"/>
                <a:gd name="T67" fmla="*/ 29 h 29"/>
                <a:gd name="T68" fmla="*/ 129 w 143"/>
                <a:gd name="T6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" h="29">
                  <a:moveTo>
                    <a:pt x="129" y="29"/>
                  </a:moveTo>
                  <a:lnTo>
                    <a:pt x="132" y="29"/>
                  </a:lnTo>
                  <a:lnTo>
                    <a:pt x="134" y="28"/>
                  </a:lnTo>
                  <a:lnTo>
                    <a:pt x="137" y="27"/>
                  </a:lnTo>
                  <a:lnTo>
                    <a:pt x="139" y="26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3" y="18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39" y="5"/>
                  </a:lnTo>
                  <a:lnTo>
                    <a:pt x="137" y="3"/>
                  </a:lnTo>
                  <a:lnTo>
                    <a:pt x="134" y="2"/>
                  </a:lnTo>
                  <a:lnTo>
                    <a:pt x="132" y="1"/>
                  </a:lnTo>
                  <a:lnTo>
                    <a:pt x="129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29"/>
                  </a:lnTo>
                  <a:lnTo>
                    <a:pt x="12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AA702585-C9B1-4AC8-8FDF-235643F50FDC}"/>
              </a:ext>
            </a:extLst>
          </p:cNvPr>
          <p:cNvSpPr txBox="1"/>
          <p:nvPr/>
        </p:nvSpPr>
        <p:spPr>
          <a:xfrm>
            <a:off x="1435471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 dirty="0">
                <a:solidFill>
                  <a:schemeClr val="accent1"/>
                </a:solidFill>
                <a:ea typeface="+mn-lt"/>
                <a:cs typeface="+mn-lt"/>
              </a:rPr>
              <a:t>STRENGTH</a:t>
            </a:r>
            <a:endParaRPr lang="ko-KR" altLang="en-US">
              <a:solidFill>
                <a:schemeClr val="accent1"/>
              </a:solidFill>
              <a:ea typeface="바탕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7AB238D-2033-48F1-9946-8C30CFBCB309}"/>
              </a:ext>
            </a:extLst>
          </p:cNvPr>
          <p:cNvSpPr txBox="1"/>
          <p:nvPr/>
        </p:nvSpPr>
        <p:spPr>
          <a:xfrm>
            <a:off x="3949823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ko-KR" sz="1600" dirty="0">
                <a:solidFill>
                  <a:schemeClr val="tx2"/>
                </a:solidFill>
                <a:ea typeface="바탕"/>
              </a:rPr>
              <a:t>WEEKNES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3925331-2E01-430C-8137-B551418C305B}"/>
              </a:ext>
            </a:extLst>
          </p:cNvPr>
          <p:cNvSpPr txBox="1"/>
          <p:nvPr/>
        </p:nvSpPr>
        <p:spPr>
          <a:xfrm>
            <a:off x="6458196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OPPORTUNITY</a:t>
            </a:r>
            <a:endParaRPr lang="ko-KR" altLang="en-US">
              <a:solidFill>
                <a:schemeClr val="tx2">
                  <a:lumMod val="75000"/>
                </a:schemeClr>
              </a:solidFill>
              <a:ea typeface="바탕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5893B8-43CC-4E02-9992-956EF0E1E703}"/>
              </a:ext>
            </a:extLst>
          </p:cNvPr>
          <p:cNvSpPr txBox="1"/>
          <p:nvPr/>
        </p:nvSpPr>
        <p:spPr>
          <a:xfrm>
            <a:off x="8966569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THREA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F02990-9AB2-4F00-9C3D-21408166F5DF}"/>
              </a:ext>
            </a:extLst>
          </p:cNvPr>
          <p:cNvSpPr txBox="1"/>
          <p:nvPr/>
        </p:nvSpPr>
        <p:spPr>
          <a:xfrm>
            <a:off x="152398" y="322847"/>
            <a:ext cx="51996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기존사이트 SWOT 분석</a:t>
            </a:r>
          </a:p>
        </p:txBody>
      </p:sp>
    </p:spTree>
    <p:extLst>
      <p:ext uri="{BB962C8B-B14F-4D97-AF65-F5344CB8AC3E}">
        <p14:creationId xmlns:p14="http://schemas.microsoft.com/office/powerpoint/2010/main" val="1383202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HOW?</a:t>
            </a:r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6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906954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3CCF682-5A32-482C-B63F-0ED5A6AAA6CE}"/>
              </a:ext>
            </a:extLst>
          </p:cNvPr>
          <p:cNvGrpSpPr/>
          <p:nvPr/>
        </p:nvGrpSpPr>
        <p:grpSpPr>
          <a:xfrm>
            <a:off x="1033463" y="3075059"/>
            <a:ext cx="10137776" cy="3235325"/>
            <a:chOff x="1033463" y="1814513"/>
            <a:chExt cx="10137776" cy="3235325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3B4038C-1480-4997-B331-51D6B94EC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2794001"/>
              <a:ext cx="1695450" cy="1276350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EAC3B3C-39C2-4E14-A717-4C06A8D89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1" y="1814513"/>
              <a:ext cx="3379788" cy="1958975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F9743AAA-3C93-4DBB-B919-E1123838B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1301" y="1852613"/>
              <a:ext cx="3240088" cy="1882775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495218E-DC58-47E0-A7B1-C6BF0ABF6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2794001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39F085B-776E-4F88-A7A4-1F5B7832D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076" y="2794001"/>
              <a:ext cx="511175" cy="61277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279BCA2-41A1-48CA-9071-6BDA08025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463" y="1814513"/>
              <a:ext cx="3379788" cy="1958975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74636A02-1F6D-4F83-8603-AAA8A0AC2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313" y="1852613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D89CCEC-AA47-4015-A938-FFFF6A1C3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419476"/>
              <a:ext cx="1531938" cy="650875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1CB454D1-5EDA-41FB-9393-B13CCD462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463" y="2794001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60D0AA56-5EE4-4043-8053-5B8CF1701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76" y="3148013"/>
              <a:ext cx="360363" cy="600075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185ABE75-231E-4A1E-ADE3-31A2F499D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2794001"/>
              <a:ext cx="3379788" cy="1958975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619F28F-2CF3-4895-A76F-E0B3BD319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2832101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74414DBB-1050-40F8-9C91-E4016B883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5951" y="3773488"/>
              <a:ext cx="1682750" cy="1276350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59A2E035-D22D-4EA9-833F-280765309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773488"/>
              <a:ext cx="1697038" cy="1276350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242ABD1E-FC01-40E9-ABF3-0658F0952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1863" y="2794001"/>
              <a:ext cx="509588" cy="61277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399BFAED-54F0-4393-89F6-CF2D54A40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3419476"/>
              <a:ext cx="1531938" cy="650875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C8A68156-B6DA-4C3A-BB09-AAF73388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251" y="1814513"/>
              <a:ext cx="3378200" cy="1958975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90179385-8479-4BA1-8DE2-A2532FD5A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1513" y="1852613"/>
              <a:ext cx="3241675" cy="1882775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FFC11C1B-3E96-4F4A-9CBD-08F55A72B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2794001"/>
              <a:ext cx="3379788" cy="1958975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E6A12C39-BD47-4B00-A82B-B3F14C2CB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8551" y="2832101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F17CA339-FB2D-4B66-A258-3BAD8077C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4151" y="3773488"/>
              <a:ext cx="1684338" cy="1276350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rgbClr val="AD1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384B1029-6CC7-4C12-8166-F5F8C94AC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3773488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E756BFC-C2E5-4604-AB78-0B764C90EBFF}"/>
              </a:ext>
            </a:extLst>
          </p:cNvPr>
          <p:cNvGrpSpPr/>
          <p:nvPr/>
        </p:nvGrpSpPr>
        <p:grpSpPr>
          <a:xfrm>
            <a:off x="9380953" y="3560078"/>
            <a:ext cx="732008" cy="656280"/>
            <a:chOff x="11028363" y="3683000"/>
            <a:chExt cx="276225" cy="247650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11" name="Freeform 48">
              <a:extLst>
                <a:ext uri="{FF2B5EF4-FFF2-40B4-BE49-F238E27FC236}">
                  <a16:creationId xmlns:a16="http://schemas.microsoft.com/office/drawing/2014/main" id="{E049A5B1-C9BD-46DE-A613-2031A23DB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8363" y="3921125"/>
              <a:ext cx="276225" cy="9525"/>
            </a:xfrm>
            <a:custGeom>
              <a:avLst/>
              <a:gdLst>
                <a:gd name="T0" fmla="*/ 857 w 872"/>
                <a:gd name="T1" fmla="*/ 0 h 30"/>
                <a:gd name="T2" fmla="*/ 15 w 872"/>
                <a:gd name="T3" fmla="*/ 0 h 30"/>
                <a:gd name="T4" fmla="*/ 12 w 872"/>
                <a:gd name="T5" fmla="*/ 0 h 30"/>
                <a:gd name="T6" fmla="*/ 9 w 872"/>
                <a:gd name="T7" fmla="*/ 1 h 30"/>
                <a:gd name="T8" fmla="*/ 6 w 872"/>
                <a:gd name="T9" fmla="*/ 2 h 30"/>
                <a:gd name="T10" fmla="*/ 4 w 872"/>
                <a:gd name="T11" fmla="*/ 4 h 30"/>
                <a:gd name="T12" fmla="*/ 2 w 872"/>
                <a:gd name="T13" fmla="*/ 7 h 30"/>
                <a:gd name="T14" fmla="*/ 1 w 872"/>
                <a:gd name="T15" fmla="*/ 9 h 30"/>
                <a:gd name="T16" fmla="*/ 0 w 872"/>
                <a:gd name="T17" fmla="*/ 12 h 30"/>
                <a:gd name="T18" fmla="*/ 0 w 872"/>
                <a:gd name="T19" fmla="*/ 15 h 30"/>
                <a:gd name="T20" fmla="*/ 0 w 872"/>
                <a:gd name="T21" fmla="*/ 17 h 30"/>
                <a:gd name="T22" fmla="*/ 1 w 872"/>
                <a:gd name="T23" fmla="*/ 21 h 30"/>
                <a:gd name="T24" fmla="*/ 2 w 872"/>
                <a:gd name="T25" fmla="*/ 23 h 30"/>
                <a:gd name="T26" fmla="*/ 4 w 872"/>
                <a:gd name="T27" fmla="*/ 25 h 30"/>
                <a:gd name="T28" fmla="*/ 6 w 872"/>
                <a:gd name="T29" fmla="*/ 27 h 30"/>
                <a:gd name="T30" fmla="*/ 9 w 872"/>
                <a:gd name="T31" fmla="*/ 28 h 30"/>
                <a:gd name="T32" fmla="*/ 12 w 872"/>
                <a:gd name="T33" fmla="*/ 29 h 30"/>
                <a:gd name="T34" fmla="*/ 15 w 872"/>
                <a:gd name="T35" fmla="*/ 30 h 30"/>
                <a:gd name="T36" fmla="*/ 857 w 872"/>
                <a:gd name="T37" fmla="*/ 30 h 30"/>
                <a:gd name="T38" fmla="*/ 860 w 872"/>
                <a:gd name="T39" fmla="*/ 29 h 30"/>
                <a:gd name="T40" fmla="*/ 862 w 872"/>
                <a:gd name="T41" fmla="*/ 28 h 30"/>
                <a:gd name="T42" fmla="*/ 866 w 872"/>
                <a:gd name="T43" fmla="*/ 27 h 30"/>
                <a:gd name="T44" fmla="*/ 868 w 872"/>
                <a:gd name="T45" fmla="*/ 25 h 30"/>
                <a:gd name="T46" fmla="*/ 869 w 872"/>
                <a:gd name="T47" fmla="*/ 23 h 30"/>
                <a:gd name="T48" fmla="*/ 871 w 872"/>
                <a:gd name="T49" fmla="*/ 21 h 30"/>
                <a:gd name="T50" fmla="*/ 871 w 872"/>
                <a:gd name="T51" fmla="*/ 17 h 30"/>
                <a:gd name="T52" fmla="*/ 872 w 872"/>
                <a:gd name="T53" fmla="*/ 15 h 30"/>
                <a:gd name="T54" fmla="*/ 871 w 872"/>
                <a:gd name="T55" fmla="*/ 12 h 30"/>
                <a:gd name="T56" fmla="*/ 871 w 872"/>
                <a:gd name="T57" fmla="*/ 9 h 30"/>
                <a:gd name="T58" fmla="*/ 869 w 872"/>
                <a:gd name="T59" fmla="*/ 7 h 30"/>
                <a:gd name="T60" fmla="*/ 868 w 872"/>
                <a:gd name="T61" fmla="*/ 4 h 30"/>
                <a:gd name="T62" fmla="*/ 866 w 872"/>
                <a:gd name="T63" fmla="*/ 2 h 30"/>
                <a:gd name="T64" fmla="*/ 862 w 872"/>
                <a:gd name="T65" fmla="*/ 1 h 30"/>
                <a:gd name="T66" fmla="*/ 860 w 872"/>
                <a:gd name="T67" fmla="*/ 0 h 30"/>
                <a:gd name="T68" fmla="*/ 857 w 87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2" h="30">
                  <a:moveTo>
                    <a:pt x="85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857" y="30"/>
                  </a:lnTo>
                  <a:lnTo>
                    <a:pt x="860" y="29"/>
                  </a:lnTo>
                  <a:lnTo>
                    <a:pt x="862" y="28"/>
                  </a:lnTo>
                  <a:lnTo>
                    <a:pt x="866" y="27"/>
                  </a:lnTo>
                  <a:lnTo>
                    <a:pt x="868" y="25"/>
                  </a:lnTo>
                  <a:lnTo>
                    <a:pt x="869" y="23"/>
                  </a:lnTo>
                  <a:lnTo>
                    <a:pt x="871" y="21"/>
                  </a:lnTo>
                  <a:lnTo>
                    <a:pt x="871" y="17"/>
                  </a:lnTo>
                  <a:lnTo>
                    <a:pt x="872" y="15"/>
                  </a:lnTo>
                  <a:lnTo>
                    <a:pt x="871" y="12"/>
                  </a:lnTo>
                  <a:lnTo>
                    <a:pt x="871" y="9"/>
                  </a:lnTo>
                  <a:lnTo>
                    <a:pt x="869" y="7"/>
                  </a:lnTo>
                  <a:lnTo>
                    <a:pt x="868" y="4"/>
                  </a:lnTo>
                  <a:lnTo>
                    <a:pt x="866" y="2"/>
                  </a:lnTo>
                  <a:lnTo>
                    <a:pt x="862" y="1"/>
                  </a:lnTo>
                  <a:lnTo>
                    <a:pt x="860" y="0"/>
                  </a:lnTo>
                  <a:lnTo>
                    <a:pt x="8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9">
              <a:extLst>
                <a:ext uri="{FF2B5EF4-FFF2-40B4-BE49-F238E27FC236}">
                  <a16:creationId xmlns:a16="http://schemas.microsoft.com/office/drawing/2014/main" id="{B028FDB3-4B71-4522-8FB8-31DD46F85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18863" y="3797300"/>
              <a:ext cx="66675" cy="114300"/>
            </a:xfrm>
            <a:custGeom>
              <a:avLst/>
              <a:gdLst>
                <a:gd name="T0" fmla="*/ 120 w 211"/>
                <a:gd name="T1" fmla="*/ 330 h 360"/>
                <a:gd name="T2" fmla="*/ 150 w 211"/>
                <a:gd name="T3" fmla="*/ 30 h 360"/>
                <a:gd name="T4" fmla="*/ 60 w 211"/>
                <a:gd name="T5" fmla="*/ 30 h 360"/>
                <a:gd name="T6" fmla="*/ 90 w 211"/>
                <a:gd name="T7" fmla="*/ 330 h 360"/>
                <a:gd name="T8" fmla="*/ 60 w 211"/>
                <a:gd name="T9" fmla="*/ 30 h 360"/>
                <a:gd name="T10" fmla="*/ 198 w 211"/>
                <a:gd name="T11" fmla="*/ 29 h 360"/>
                <a:gd name="T12" fmla="*/ 204 w 211"/>
                <a:gd name="T13" fmla="*/ 27 h 360"/>
                <a:gd name="T14" fmla="*/ 208 w 211"/>
                <a:gd name="T15" fmla="*/ 23 h 360"/>
                <a:gd name="T16" fmla="*/ 210 w 211"/>
                <a:gd name="T17" fmla="*/ 17 h 360"/>
                <a:gd name="T18" fmla="*/ 210 w 211"/>
                <a:gd name="T19" fmla="*/ 12 h 360"/>
                <a:gd name="T20" fmla="*/ 208 w 211"/>
                <a:gd name="T21" fmla="*/ 7 h 360"/>
                <a:gd name="T22" fmla="*/ 204 w 211"/>
                <a:gd name="T23" fmla="*/ 2 h 360"/>
                <a:gd name="T24" fmla="*/ 198 w 211"/>
                <a:gd name="T25" fmla="*/ 0 h 360"/>
                <a:gd name="T26" fmla="*/ 15 w 211"/>
                <a:gd name="T27" fmla="*/ 0 h 360"/>
                <a:gd name="T28" fmla="*/ 10 w 211"/>
                <a:gd name="T29" fmla="*/ 1 h 360"/>
                <a:gd name="T30" fmla="*/ 4 w 211"/>
                <a:gd name="T31" fmla="*/ 5 h 360"/>
                <a:gd name="T32" fmla="*/ 1 w 211"/>
                <a:gd name="T33" fmla="*/ 9 h 360"/>
                <a:gd name="T34" fmla="*/ 0 w 211"/>
                <a:gd name="T35" fmla="*/ 15 h 360"/>
                <a:gd name="T36" fmla="*/ 1 w 211"/>
                <a:gd name="T37" fmla="*/ 21 h 360"/>
                <a:gd name="T38" fmla="*/ 4 w 211"/>
                <a:gd name="T39" fmla="*/ 26 h 360"/>
                <a:gd name="T40" fmla="*/ 10 w 211"/>
                <a:gd name="T41" fmla="*/ 29 h 360"/>
                <a:gd name="T42" fmla="*/ 15 w 211"/>
                <a:gd name="T43" fmla="*/ 30 h 360"/>
                <a:gd name="T44" fmla="*/ 30 w 211"/>
                <a:gd name="T45" fmla="*/ 330 h 360"/>
                <a:gd name="T46" fmla="*/ 12 w 211"/>
                <a:gd name="T47" fmla="*/ 331 h 360"/>
                <a:gd name="T48" fmla="*/ 6 w 211"/>
                <a:gd name="T49" fmla="*/ 333 h 360"/>
                <a:gd name="T50" fmla="*/ 2 w 211"/>
                <a:gd name="T51" fmla="*/ 338 h 360"/>
                <a:gd name="T52" fmla="*/ 0 w 211"/>
                <a:gd name="T53" fmla="*/ 343 h 360"/>
                <a:gd name="T54" fmla="*/ 0 w 211"/>
                <a:gd name="T55" fmla="*/ 348 h 360"/>
                <a:gd name="T56" fmla="*/ 2 w 211"/>
                <a:gd name="T57" fmla="*/ 354 h 360"/>
                <a:gd name="T58" fmla="*/ 6 w 211"/>
                <a:gd name="T59" fmla="*/ 358 h 360"/>
                <a:gd name="T60" fmla="*/ 12 w 211"/>
                <a:gd name="T61" fmla="*/ 360 h 360"/>
                <a:gd name="T62" fmla="*/ 196 w 211"/>
                <a:gd name="T63" fmla="*/ 360 h 360"/>
                <a:gd name="T64" fmla="*/ 201 w 211"/>
                <a:gd name="T65" fmla="*/ 359 h 360"/>
                <a:gd name="T66" fmla="*/ 206 w 211"/>
                <a:gd name="T67" fmla="*/ 356 h 360"/>
                <a:gd name="T68" fmla="*/ 209 w 211"/>
                <a:gd name="T69" fmla="*/ 352 h 360"/>
                <a:gd name="T70" fmla="*/ 211 w 211"/>
                <a:gd name="T71" fmla="*/ 345 h 360"/>
                <a:gd name="T72" fmla="*/ 209 w 211"/>
                <a:gd name="T73" fmla="*/ 340 h 360"/>
                <a:gd name="T74" fmla="*/ 206 w 211"/>
                <a:gd name="T75" fmla="*/ 334 h 360"/>
                <a:gd name="T76" fmla="*/ 201 w 211"/>
                <a:gd name="T77" fmla="*/ 331 h 360"/>
                <a:gd name="T78" fmla="*/ 196 w 211"/>
                <a:gd name="T79" fmla="*/ 330 h 360"/>
                <a:gd name="T80" fmla="*/ 181 w 211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1" h="360">
                  <a:moveTo>
                    <a:pt x="150" y="330"/>
                  </a:moveTo>
                  <a:lnTo>
                    <a:pt x="120" y="330"/>
                  </a:lnTo>
                  <a:lnTo>
                    <a:pt x="120" y="30"/>
                  </a:lnTo>
                  <a:lnTo>
                    <a:pt x="150" y="30"/>
                  </a:lnTo>
                  <a:lnTo>
                    <a:pt x="150" y="330"/>
                  </a:lnTo>
                  <a:close/>
                  <a:moveTo>
                    <a:pt x="60" y="30"/>
                  </a:moveTo>
                  <a:lnTo>
                    <a:pt x="90" y="30"/>
                  </a:lnTo>
                  <a:lnTo>
                    <a:pt x="90" y="330"/>
                  </a:lnTo>
                  <a:lnTo>
                    <a:pt x="60" y="330"/>
                  </a:lnTo>
                  <a:lnTo>
                    <a:pt x="60" y="30"/>
                  </a:lnTo>
                  <a:close/>
                  <a:moveTo>
                    <a:pt x="196" y="30"/>
                  </a:moveTo>
                  <a:lnTo>
                    <a:pt x="198" y="29"/>
                  </a:lnTo>
                  <a:lnTo>
                    <a:pt x="201" y="29"/>
                  </a:lnTo>
                  <a:lnTo>
                    <a:pt x="204" y="27"/>
                  </a:lnTo>
                  <a:lnTo>
                    <a:pt x="206" y="26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0" y="17"/>
                  </a:lnTo>
                  <a:lnTo>
                    <a:pt x="211" y="15"/>
                  </a:lnTo>
                  <a:lnTo>
                    <a:pt x="210" y="12"/>
                  </a:lnTo>
                  <a:lnTo>
                    <a:pt x="209" y="9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4" y="2"/>
                  </a:lnTo>
                  <a:lnTo>
                    <a:pt x="201" y="1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0" y="30"/>
                  </a:lnTo>
                  <a:lnTo>
                    <a:pt x="30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10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8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2"/>
                  </a:lnTo>
                  <a:lnTo>
                    <a:pt x="2" y="354"/>
                  </a:lnTo>
                  <a:lnTo>
                    <a:pt x="4" y="356"/>
                  </a:lnTo>
                  <a:lnTo>
                    <a:pt x="6" y="358"/>
                  </a:lnTo>
                  <a:lnTo>
                    <a:pt x="10" y="359"/>
                  </a:lnTo>
                  <a:lnTo>
                    <a:pt x="12" y="360"/>
                  </a:lnTo>
                  <a:lnTo>
                    <a:pt x="15" y="360"/>
                  </a:lnTo>
                  <a:lnTo>
                    <a:pt x="196" y="360"/>
                  </a:lnTo>
                  <a:lnTo>
                    <a:pt x="198" y="360"/>
                  </a:lnTo>
                  <a:lnTo>
                    <a:pt x="201" y="359"/>
                  </a:lnTo>
                  <a:lnTo>
                    <a:pt x="204" y="358"/>
                  </a:lnTo>
                  <a:lnTo>
                    <a:pt x="206" y="356"/>
                  </a:lnTo>
                  <a:lnTo>
                    <a:pt x="208" y="354"/>
                  </a:lnTo>
                  <a:lnTo>
                    <a:pt x="209" y="352"/>
                  </a:lnTo>
                  <a:lnTo>
                    <a:pt x="210" y="348"/>
                  </a:lnTo>
                  <a:lnTo>
                    <a:pt x="211" y="345"/>
                  </a:lnTo>
                  <a:lnTo>
                    <a:pt x="210" y="343"/>
                  </a:lnTo>
                  <a:lnTo>
                    <a:pt x="209" y="340"/>
                  </a:lnTo>
                  <a:lnTo>
                    <a:pt x="208" y="338"/>
                  </a:lnTo>
                  <a:lnTo>
                    <a:pt x="206" y="334"/>
                  </a:lnTo>
                  <a:lnTo>
                    <a:pt x="204" y="333"/>
                  </a:lnTo>
                  <a:lnTo>
                    <a:pt x="201" y="331"/>
                  </a:lnTo>
                  <a:lnTo>
                    <a:pt x="198" y="331"/>
                  </a:lnTo>
                  <a:lnTo>
                    <a:pt x="196" y="330"/>
                  </a:lnTo>
                  <a:lnTo>
                    <a:pt x="181" y="330"/>
                  </a:lnTo>
                  <a:lnTo>
                    <a:pt x="181" y="30"/>
                  </a:lnTo>
                  <a:lnTo>
                    <a:pt x="19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50">
              <a:extLst>
                <a:ext uri="{FF2B5EF4-FFF2-40B4-BE49-F238E27FC236}">
                  <a16:creationId xmlns:a16="http://schemas.microsoft.com/office/drawing/2014/main" id="{4CEC359C-5302-45D3-84F0-1878A24276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7413" y="3797300"/>
              <a:ext cx="66675" cy="114300"/>
            </a:xfrm>
            <a:custGeom>
              <a:avLst/>
              <a:gdLst>
                <a:gd name="T0" fmla="*/ 120 w 210"/>
                <a:gd name="T1" fmla="*/ 330 h 360"/>
                <a:gd name="T2" fmla="*/ 150 w 210"/>
                <a:gd name="T3" fmla="*/ 30 h 360"/>
                <a:gd name="T4" fmla="*/ 60 w 210"/>
                <a:gd name="T5" fmla="*/ 30 h 360"/>
                <a:gd name="T6" fmla="*/ 90 w 210"/>
                <a:gd name="T7" fmla="*/ 330 h 360"/>
                <a:gd name="T8" fmla="*/ 60 w 210"/>
                <a:gd name="T9" fmla="*/ 30 h 360"/>
                <a:gd name="T10" fmla="*/ 198 w 210"/>
                <a:gd name="T11" fmla="*/ 29 h 360"/>
                <a:gd name="T12" fmla="*/ 204 w 210"/>
                <a:gd name="T13" fmla="*/ 27 h 360"/>
                <a:gd name="T14" fmla="*/ 208 w 210"/>
                <a:gd name="T15" fmla="*/ 23 h 360"/>
                <a:gd name="T16" fmla="*/ 210 w 210"/>
                <a:gd name="T17" fmla="*/ 17 h 360"/>
                <a:gd name="T18" fmla="*/ 210 w 210"/>
                <a:gd name="T19" fmla="*/ 12 h 360"/>
                <a:gd name="T20" fmla="*/ 208 w 210"/>
                <a:gd name="T21" fmla="*/ 7 h 360"/>
                <a:gd name="T22" fmla="*/ 204 w 210"/>
                <a:gd name="T23" fmla="*/ 2 h 360"/>
                <a:gd name="T24" fmla="*/ 198 w 210"/>
                <a:gd name="T25" fmla="*/ 0 h 360"/>
                <a:gd name="T26" fmla="*/ 15 w 210"/>
                <a:gd name="T27" fmla="*/ 0 h 360"/>
                <a:gd name="T28" fmla="*/ 9 w 210"/>
                <a:gd name="T29" fmla="*/ 1 h 360"/>
                <a:gd name="T30" fmla="*/ 4 w 210"/>
                <a:gd name="T31" fmla="*/ 5 h 360"/>
                <a:gd name="T32" fmla="*/ 1 w 210"/>
                <a:gd name="T33" fmla="*/ 9 h 360"/>
                <a:gd name="T34" fmla="*/ 0 w 210"/>
                <a:gd name="T35" fmla="*/ 15 h 360"/>
                <a:gd name="T36" fmla="*/ 1 w 210"/>
                <a:gd name="T37" fmla="*/ 21 h 360"/>
                <a:gd name="T38" fmla="*/ 4 w 210"/>
                <a:gd name="T39" fmla="*/ 26 h 360"/>
                <a:gd name="T40" fmla="*/ 9 w 210"/>
                <a:gd name="T41" fmla="*/ 29 h 360"/>
                <a:gd name="T42" fmla="*/ 15 w 210"/>
                <a:gd name="T43" fmla="*/ 30 h 360"/>
                <a:gd name="T44" fmla="*/ 30 w 210"/>
                <a:gd name="T45" fmla="*/ 330 h 360"/>
                <a:gd name="T46" fmla="*/ 12 w 210"/>
                <a:gd name="T47" fmla="*/ 331 h 360"/>
                <a:gd name="T48" fmla="*/ 6 w 210"/>
                <a:gd name="T49" fmla="*/ 333 h 360"/>
                <a:gd name="T50" fmla="*/ 2 w 210"/>
                <a:gd name="T51" fmla="*/ 338 h 360"/>
                <a:gd name="T52" fmla="*/ 0 w 210"/>
                <a:gd name="T53" fmla="*/ 343 h 360"/>
                <a:gd name="T54" fmla="*/ 0 w 210"/>
                <a:gd name="T55" fmla="*/ 348 h 360"/>
                <a:gd name="T56" fmla="*/ 2 w 210"/>
                <a:gd name="T57" fmla="*/ 354 h 360"/>
                <a:gd name="T58" fmla="*/ 6 w 210"/>
                <a:gd name="T59" fmla="*/ 358 h 360"/>
                <a:gd name="T60" fmla="*/ 12 w 210"/>
                <a:gd name="T61" fmla="*/ 360 h 360"/>
                <a:gd name="T62" fmla="*/ 195 w 210"/>
                <a:gd name="T63" fmla="*/ 360 h 360"/>
                <a:gd name="T64" fmla="*/ 201 w 210"/>
                <a:gd name="T65" fmla="*/ 359 h 360"/>
                <a:gd name="T66" fmla="*/ 206 w 210"/>
                <a:gd name="T67" fmla="*/ 356 h 360"/>
                <a:gd name="T68" fmla="*/ 209 w 210"/>
                <a:gd name="T69" fmla="*/ 352 h 360"/>
                <a:gd name="T70" fmla="*/ 210 w 210"/>
                <a:gd name="T71" fmla="*/ 345 h 360"/>
                <a:gd name="T72" fmla="*/ 209 w 210"/>
                <a:gd name="T73" fmla="*/ 340 h 360"/>
                <a:gd name="T74" fmla="*/ 206 w 210"/>
                <a:gd name="T75" fmla="*/ 334 h 360"/>
                <a:gd name="T76" fmla="*/ 201 w 210"/>
                <a:gd name="T77" fmla="*/ 331 h 360"/>
                <a:gd name="T78" fmla="*/ 195 w 210"/>
                <a:gd name="T79" fmla="*/ 330 h 360"/>
                <a:gd name="T80" fmla="*/ 180 w 210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0" h="360">
                  <a:moveTo>
                    <a:pt x="150" y="330"/>
                  </a:moveTo>
                  <a:lnTo>
                    <a:pt x="120" y="330"/>
                  </a:lnTo>
                  <a:lnTo>
                    <a:pt x="120" y="30"/>
                  </a:lnTo>
                  <a:lnTo>
                    <a:pt x="150" y="30"/>
                  </a:lnTo>
                  <a:lnTo>
                    <a:pt x="150" y="330"/>
                  </a:lnTo>
                  <a:close/>
                  <a:moveTo>
                    <a:pt x="60" y="30"/>
                  </a:moveTo>
                  <a:lnTo>
                    <a:pt x="90" y="30"/>
                  </a:lnTo>
                  <a:lnTo>
                    <a:pt x="90" y="330"/>
                  </a:lnTo>
                  <a:lnTo>
                    <a:pt x="60" y="330"/>
                  </a:lnTo>
                  <a:lnTo>
                    <a:pt x="60" y="30"/>
                  </a:lnTo>
                  <a:close/>
                  <a:moveTo>
                    <a:pt x="195" y="30"/>
                  </a:moveTo>
                  <a:lnTo>
                    <a:pt x="198" y="29"/>
                  </a:lnTo>
                  <a:lnTo>
                    <a:pt x="201" y="29"/>
                  </a:lnTo>
                  <a:lnTo>
                    <a:pt x="204" y="27"/>
                  </a:lnTo>
                  <a:lnTo>
                    <a:pt x="206" y="26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0" y="17"/>
                  </a:lnTo>
                  <a:lnTo>
                    <a:pt x="210" y="15"/>
                  </a:lnTo>
                  <a:lnTo>
                    <a:pt x="210" y="12"/>
                  </a:lnTo>
                  <a:lnTo>
                    <a:pt x="209" y="9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4" y="2"/>
                  </a:lnTo>
                  <a:lnTo>
                    <a:pt x="201" y="1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0" y="30"/>
                  </a:lnTo>
                  <a:lnTo>
                    <a:pt x="30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9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8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2"/>
                  </a:lnTo>
                  <a:lnTo>
                    <a:pt x="2" y="354"/>
                  </a:lnTo>
                  <a:lnTo>
                    <a:pt x="4" y="356"/>
                  </a:lnTo>
                  <a:lnTo>
                    <a:pt x="6" y="358"/>
                  </a:lnTo>
                  <a:lnTo>
                    <a:pt x="9" y="359"/>
                  </a:lnTo>
                  <a:lnTo>
                    <a:pt x="12" y="360"/>
                  </a:lnTo>
                  <a:lnTo>
                    <a:pt x="15" y="360"/>
                  </a:lnTo>
                  <a:lnTo>
                    <a:pt x="195" y="360"/>
                  </a:lnTo>
                  <a:lnTo>
                    <a:pt x="198" y="360"/>
                  </a:lnTo>
                  <a:lnTo>
                    <a:pt x="201" y="359"/>
                  </a:lnTo>
                  <a:lnTo>
                    <a:pt x="204" y="358"/>
                  </a:lnTo>
                  <a:lnTo>
                    <a:pt x="206" y="356"/>
                  </a:lnTo>
                  <a:lnTo>
                    <a:pt x="208" y="354"/>
                  </a:lnTo>
                  <a:lnTo>
                    <a:pt x="209" y="352"/>
                  </a:lnTo>
                  <a:lnTo>
                    <a:pt x="210" y="348"/>
                  </a:lnTo>
                  <a:lnTo>
                    <a:pt x="210" y="345"/>
                  </a:lnTo>
                  <a:lnTo>
                    <a:pt x="210" y="343"/>
                  </a:lnTo>
                  <a:lnTo>
                    <a:pt x="209" y="340"/>
                  </a:lnTo>
                  <a:lnTo>
                    <a:pt x="208" y="338"/>
                  </a:lnTo>
                  <a:lnTo>
                    <a:pt x="206" y="334"/>
                  </a:lnTo>
                  <a:lnTo>
                    <a:pt x="204" y="333"/>
                  </a:lnTo>
                  <a:lnTo>
                    <a:pt x="201" y="331"/>
                  </a:lnTo>
                  <a:lnTo>
                    <a:pt x="198" y="331"/>
                  </a:lnTo>
                  <a:lnTo>
                    <a:pt x="195" y="330"/>
                  </a:lnTo>
                  <a:lnTo>
                    <a:pt x="180" y="330"/>
                  </a:lnTo>
                  <a:lnTo>
                    <a:pt x="180" y="30"/>
                  </a:lnTo>
                  <a:lnTo>
                    <a:pt x="19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51">
              <a:extLst>
                <a:ext uri="{FF2B5EF4-FFF2-40B4-BE49-F238E27FC236}">
                  <a16:creationId xmlns:a16="http://schemas.microsoft.com/office/drawing/2014/main" id="{6F9DB38D-AE1F-4596-885D-E353719A58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3138" y="3797300"/>
              <a:ext cx="66675" cy="114300"/>
            </a:xfrm>
            <a:custGeom>
              <a:avLst/>
              <a:gdLst>
                <a:gd name="T0" fmla="*/ 121 w 211"/>
                <a:gd name="T1" fmla="*/ 330 h 360"/>
                <a:gd name="T2" fmla="*/ 151 w 211"/>
                <a:gd name="T3" fmla="*/ 30 h 360"/>
                <a:gd name="T4" fmla="*/ 61 w 211"/>
                <a:gd name="T5" fmla="*/ 30 h 360"/>
                <a:gd name="T6" fmla="*/ 91 w 211"/>
                <a:gd name="T7" fmla="*/ 330 h 360"/>
                <a:gd name="T8" fmla="*/ 61 w 211"/>
                <a:gd name="T9" fmla="*/ 30 h 360"/>
                <a:gd name="T10" fmla="*/ 199 w 211"/>
                <a:gd name="T11" fmla="*/ 29 h 360"/>
                <a:gd name="T12" fmla="*/ 205 w 211"/>
                <a:gd name="T13" fmla="*/ 27 h 360"/>
                <a:gd name="T14" fmla="*/ 209 w 211"/>
                <a:gd name="T15" fmla="*/ 23 h 360"/>
                <a:gd name="T16" fmla="*/ 211 w 211"/>
                <a:gd name="T17" fmla="*/ 17 h 360"/>
                <a:gd name="T18" fmla="*/ 211 w 211"/>
                <a:gd name="T19" fmla="*/ 12 h 360"/>
                <a:gd name="T20" fmla="*/ 209 w 211"/>
                <a:gd name="T21" fmla="*/ 7 h 360"/>
                <a:gd name="T22" fmla="*/ 205 w 211"/>
                <a:gd name="T23" fmla="*/ 2 h 360"/>
                <a:gd name="T24" fmla="*/ 199 w 211"/>
                <a:gd name="T25" fmla="*/ 0 h 360"/>
                <a:gd name="T26" fmla="*/ 15 w 211"/>
                <a:gd name="T27" fmla="*/ 0 h 360"/>
                <a:gd name="T28" fmla="*/ 10 w 211"/>
                <a:gd name="T29" fmla="*/ 1 h 360"/>
                <a:gd name="T30" fmla="*/ 5 w 211"/>
                <a:gd name="T31" fmla="*/ 5 h 360"/>
                <a:gd name="T32" fmla="*/ 2 w 211"/>
                <a:gd name="T33" fmla="*/ 9 h 360"/>
                <a:gd name="T34" fmla="*/ 0 w 211"/>
                <a:gd name="T35" fmla="*/ 15 h 360"/>
                <a:gd name="T36" fmla="*/ 2 w 211"/>
                <a:gd name="T37" fmla="*/ 21 h 360"/>
                <a:gd name="T38" fmla="*/ 5 w 211"/>
                <a:gd name="T39" fmla="*/ 26 h 360"/>
                <a:gd name="T40" fmla="*/ 10 w 211"/>
                <a:gd name="T41" fmla="*/ 29 h 360"/>
                <a:gd name="T42" fmla="*/ 15 w 211"/>
                <a:gd name="T43" fmla="*/ 30 h 360"/>
                <a:gd name="T44" fmla="*/ 31 w 211"/>
                <a:gd name="T45" fmla="*/ 330 h 360"/>
                <a:gd name="T46" fmla="*/ 13 w 211"/>
                <a:gd name="T47" fmla="*/ 331 h 360"/>
                <a:gd name="T48" fmla="*/ 7 w 211"/>
                <a:gd name="T49" fmla="*/ 333 h 360"/>
                <a:gd name="T50" fmla="*/ 3 w 211"/>
                <a:gd name="T51" fmla="*/ 338 h 360"/>
                <a:gd name="T52" fmla="*/ 1 w 211"/>
                <a:gd name="T53" fmla="*/ 343 h 360"/>
                <a:gd name="T54" fmla="*/ 1 w 211"/>
                <a:gd name="T55" fmla="*/ 348 h 360"/>
                <a:gd name="T56" fmla="*/ 3 w 211"/>
                <a:gd name="T57" fmla="*/ 354 h 360"/>
                <a:gd name="T58" fmla="*/ 7 w 211"/>
                <a:gd name="T59" fmla="*/ 358 h 360"/>
                <a:gd name="T60" fmla="*/ 13 w 211"/>
                <a:gd name="T61" fmla="*/ 360 h 360"/>
                <a:gd name="T62" fmla="*/ 196 w 211"/>
                <a:gd name="T63" fmla="*/ 360 h 360"/>
                <a:gd name="T64" fmla="*/ 201 w 211"/>
                <a:gd name="T65" fmla="*/ 359 h 360"/>
                <a:gd name="T66" fmla="*/ 207 w 211"/>
                <a:gd name="T67" fmla="*/ 356 h 360"/>
                <a:gd name="T68" fmla="*/ 210 w 211"/>
                <a:gd name="T69" fmla="*/ 352 h 360"/>
                <a:gd name="T70" fmla="*/ 211 w 211"/>
                <a:gd name="T71" fmla="*/ 345 h 360"/>
                <a:gd name="T72" fmla="*/ 210 w 211"/>
                <a:gd name="T73" fmla="*/ 340 h 360"/>
                <a:gd name="T74" fmla="*/ 207 w 211"/>
                <a:gd name="T75" fmla="*/ 334 h 360"/>
                <a:gd name="T76" fmla="*/ 201 w 211"/>
                <a:gd name="T77" fmla="*/ 331 h 360"/>
                <a:gd name="T78" fmla="*/ 196 w 211"/>
                <a:gd name="T79" fmla="*/ 330 h 360"/>
                <a:gd name="T80" fmla="*/ 181 w 211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1" h="360">
                  <a:moveTo>
                    <a:pt x="151" y="330"/>
                  </a:moveTo>
                  <a:lnTo>
                    <a:pt x="121" y="330"/>
                  </a:lnTo>
                  <a:lnTo>
                    <a:pt x="121" y="30"/>
                  </a:lnTo>
                  <a:lnTo>
                    <a:pt x="151" y="30"/>
                  </a:lnTo>
                  <a:lnTo>
                    <a:pt x="151" y="330"/>
                  </a:lnTo>
                  <a:close/>
                  <a:moveTo>
                    <a:pt x="61" y="30"/>
                  </a:moveTo>
                  <a:lnTo>
                    <a:pt x="91" y="30"/>
                  </a:lnTo>
                  <a:lnTo>
                    <a:pt x="91" y="330"/>
                  </a:lnTo>
                  <a:lnTo>
                    <a:pt x="61" y="330"/>
                  </a:lnTo>
                  <a:lnTo>
                    <a:pt x="61" y="30"/>
                  </a:lnTo>
                  <a:close/>
                  <a:moveTo>
                    <a:pt x="196" y="30"/>
                  </a:moveTo>
                  <a:lnTo>
                    <a:pt x="199" y="29"/>
                  </a:lnTo>
                  <a:lnTo>
                    <a:pt x="201" y="29"/>
                  </a:lnTo>
                  <a:lnTo>
                    <a:pt x="205" y="27"/>
                  </a:lnTo>
                  <a:lnTo>
                    <a:pt x="207" y="26"/>
                  </a:lnTo>
                  <a:lnTo>
                    <a:pt x="209" y="23"/>
                  </a:lnTo>
                  <a:lnTo>
                    <a:pt x="210" y="21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9" y="7"/>
                  </a:lnTo>
                  <a:lnTo>
                    <a:pt x="207" y="5"/>
                  </a:lnTo>
                  <a:lnTo>
                    <a:pt x="205" y="2"/>
                  </a:lnTo>
                  <a:lnTo>
                    <a:pt x="201" y="1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31" y="30"/>
                  </a:lnTo>
                  <a:lnTo>
                    <a:pt x="31" y="330"/>
                  </a:lnTo>
                  <a:lnTo>
                    <a:pt x="15" y="330"/>
                  </a:lnTo>
                  <a:lnTo>
                    <a:pt x="13" y="331"/>
                  </a:lnTo>
                  <a:lnTo>
                    <a:pt x="10" y="331"/>
                  </a:lnTo>
                  <a:lnTo>
                    <a:pt x="7" y="333"/>
                  </a:lnTo>
                  <a:lnTo>
                    <a:pt x="5" y="334"/>
                  </a:lnTo>
                  <a:lnTo>
                    <a:pt x="3" y="338"/>
                  </a:lnTo>
                  <a:lnTo>
                    <a:pt x="2" y="340"/>
                  </a:lnTo>
                  <a:lnTo>
                    <a:pt x="1" y="343"/>
                  </a:lnTo>
                  <a:lnTo>
                    <a:pt x="0" y="345"/>
                  </a:lnTo>
                  <a:lnTo>
                    <a:pt x="1" y="348"/>
                  </a:lnTo>
                  <a:lnTo>
                    <a:pt x="2" y="352"/>
                  </a:lnTo>
                  <a:lnTo>
                    <a:pt x="3" y="354"/>
                  </a:lnTo>
                  <a:lnTo>
                    <a:pt x="5" y="356"/>
                  </a:lnTo>
                  <a:lnTo>
                    <a:pt x="7" y="358"/>
                  </a:lnTo>
                  <a:lnTo>
                    <a:pt x="10" y="359"/>
                  </a:lnTo>
                  <a:lnTo>
                    <a:pt x="13" y="360"/>
                  </a:lnTo>
                  <a:lnTo>
                    <a:pt x="15" y="360"/>
                  </a:lnTo>
                  <a:lnTo>
                    <a:pt x="196" y="360"/>
                  </a:lnTo>
                  <a:lnTo>
                    <a:pt x="199" y="360"/>
                  </a:lnTo>
                  <a:lnTo>
                    <a:pt x="201" y="359"/>
                  </a:lnTo>
                  <a:lnTo>
                    <a:pt x="205" y="358"/>
                  </a:lnTo>
                  <a:lnTo>
                    <a:pt x="207" y="356"/>
                  </a:lnTo>
                  <a:lnTo>
                    <a:pt x="209" y="354"/>
                  </a:lnTo>
                  <a:lnTo>
                    <a:pt x="210" y="352"/>
                  </a:lnTo>
                  <a:lnTo>
                    <a:pt x="211" y="348"/>
                  </a:lnTo>
                  <a:lnTo>
                    <a:pt x="211" y="345"/>
                  </a:lnTo>
                  <a:lnTo>
                    <a:pt x="211" y="343"/>
                  </a:lnTo>
                  <a:lnTo>
                    <a:pt x="210" y="340"/>
                  </a:lnTo>
                  <a:lnTo>
                    <a:pt x="209" y="338"/>
                  </a:lnTo>
                  <a:lnTo>
                    <a:pt x="207" y="334"/>
                  </a:lnTo>
                  <a:lnTo>
                    <a:pt x="205" y="333"/>
                  </a:lnTo>
                  <a:lnTo>
                    <a:pt x="201" y="331"/>
                  </a:lnTo>
                  <a:lnTo>
                    <a:pt x="199" y="331"/>
                  </a:lnTo>
                  <a:lnTo>
                    <a:pt x="196" y="330"/>
                  </a:lnTo>
                  <a:lnTo>
                    <a:pt x="181" y="330"/>
                  </a:lnTo>
                  <a:lnTo>
                    <a:pt x="181" y="30"/>
                  </a:lnTo>
                  <a:lnTo>
                    <a:pt x="19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2">
              <a:extLst>
                <a:ext uri="{FF2B5EF4-FFF2-40B4-BE49-F238E27FC236}">
                  <a16:creationId xmlns:a16="http://schemas.microsoft.com/office/drawing/2014/main" id="{74057B4E-AE29-4383-8B43-704A68C1E2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8363" y="3683000"/>
              <a:ext cx="276225" cy="104775"/>
            </a:xfrm>
            <a:custGeom>
              <a:avLst/>
              <a:gdLst>
                <a:gd name="T0" fmla="*/ 436 w 872"/>
                <a:gd name="T1" fmla="*/ 33 h 331"/>
                <a:gd name="T2" fmla="*/ 810 w 872"/>
                <a:gd name="T3" fmla="*/ 300 h 331"/>
                <a:gd name="T4" fmla="*/ 62 w 872"/>
                <a:gd name="T5" fmla="*/ 300 h 331"/>
                <a:gd name="T6" fmla="*/ 436 w 872"/>
                <a:gd name="T7" fmla="*/ 33 h 331"/>
                <a:gd name="T8" fmla="*/ 15 w 872"/>
                <a:gd name="T9" fmla="*/ 330 h 331"/>
                <a:gd name="T10" fmla="*/ 857 w 872"/>
                <a:gd name="T11" fmla="*/ 330 h 331"/>
                <a:gd name="T12" fmla="*/ 861 w 872"/>
                <a:gd name="T13" fmla="*/ 330 h 331"/>
                <a:gd name="T14" fmla="*/ 866 w 872"/>
                <a:gd name="T15" fmla="*/ 328 h 331"/>
                <a:gd name="T16" fmla="*/ 869 w 872"/>
                <a:gd name="T17" fmla="*/ 325 h 331"/>
                <a:gd name="T18" fmla="*/ 871 w 872"/>
                <a:gd name="T19" fmla="*/ 321 h 331"/>
                <a:gd name="T20" fmla="*/ 872 w 872"/>
                <a:gd name="T21" fmla="*/ 315 h 331"/>
                <a:gd name="T22" fmla="*/ 871 w 872"/>
                <a:gd name="T23" fmla="*/ 311 h 331"/>
                <a:gd name="T24" fmla="*/ 869 w 872"/>
                <a:gd name="T25" fmla="*/ 307 h 331"/>
                <a:gd name="T26" fmla="*/ 866 w 872"/>
                <a:gd name="T27" fmla="*/ 303 h 331"/>
                <a:gd name="T28" fmla="*/ 445 w 872"/>
                <a:gd name="T29" fmla="*/ 2 h 331"/>
                <a:gd name="T30" fmla="*/ 440 w 872"/>
                <a:gd name="T31" fmla="*/ 0 h 331"/>
                <a:gd name="T32" fmla="*/ 436 w 872"/>
                <a:gd name="T33" fmla="*/ 0 h 331"/>
                <a:gd name="T34" fmla="*/ 431 w 872"/>
                <a:gd name="T35" fmla="*/ 0 h 331"/>
                <a:gd name="T36" fmla="*/ 427 w 872"/>
                <a:gd name="T37" fmla="*/ 2 h 331"/>
                <a:gd name="T38" fmla="*/ 6 w 872"/>
                <a:gd name="T39" fmla="*/ 303 h 331"/>
                <a:gd name="T40" fmla="*/ 2 w 872"/>
                <a:gd name="T41" fmla="*/ 307 h 331"/>
                <a:gd name="T42" fmla="*/ 0 w 872"/>
                <a:gd name="T43" fmla="*/ 311 h 331"/>
                <a:gd name="T44" fmla="*/ 0 w 872"/>
                <a:gd name="T45" fmla="*/ 315 h 331"/>
                <a:gd name="T46" fmla="*/ 0 w 872"/>
                <a:gd name="T47" fmla="*/ 321 h 331"/>
                <a:gd name="T48" fmla="*/ 2 w 872"/>
                <a:gd name="T49" fmla="*/ 325 h 331"/>
                <a:gd name="T50" fmla="*/ 5 w 872"/>
                <a:gd name="T51" fmla="*/ 328 h 331"/>
                <a:gd name="T52" fmla="*/ 10 w 872"/>
                <a:gd name="T53" fmla="*/ 330 h 331"/>
                <a:gd name="T54" fmla="*/ 15 w 872"/>
                <a:gd name="T55" fmla="*/ 331 h 331"/>
                <a:gd name="T56" fmla="*/ 15 w 872"/>
                <a:gd name="T57" fmla="*/ 33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2" h="331">
                  <a:moveTo>
                    <a:pt x="436" y="33"/>
                  </a:moveTo>
                  <a:lnTo>
                    <a:pt x="810" y="300"/>
                  </a:lnTo>
                  <a:lnTo>
                    <a:pt x="62" y="300"/>
                  </a:lnTo>
                  <a:lnTo>
                    <a:pt x="436" y="33"/>
                  </a:lnTo>
                  <a:close/>
                  <a:moveTo>
                    <a:pt x="15" y="330"/>
                  </a:moveTo>
                  <a:lnTo>
                    <a:pt x="857" y="330"/>
                  </a:lnTo>
                  <a:lnTo>
                    <a:pt x="861" y="330"/>
                  </a:lnTo>
                  <a:lnTo>
                    <a:pt x="866" y="328"/>
                  </a:lnTo>
                  <a:lnTo>
                    <a:pt x="869" y="325"/>
                  </a:lnTo>
                  <a:lnTo>
                    <a:pt x="871" y="321"/>
                  </a:lnTo>
                  <a:lnTo>
                    <a:pt x="872" y="315"/>
                  </a:lnTo>
                  <a:lnTo>
                    <a:pt x="871" y="311"/>
                  </a:lnTo>
                  <a:lnTo>
                    <a:pt x="869" y="307"/>
                  </a:lnTo>
                  <a:lnTo>
                    <a:pt x="866" y="303"/>
                  </a:lnTo>
                  <a:lnTo>
                    <a:pt x="445" y="2"/>
                  </a:lnTo>
                  <a:lnTo>
                    <a:pt x="440" y="0"/>
                  </a:lnTo>
                  <a:lnTo>
                    <a:pt x="436" y="0"/>
                  </a:lnTo>
                  <a:lnTo>
                    <a:pt x="431" y="0"/>
                  </a:lnTo>
                  <a:lnTo>
                    <a:pt x="427" y="2"/>
                  </a:lnTo>
                  <a:lnTo>
                    <a:pt x="6" y="303"/>
                  </a:lnTo>
                  <a:lnTo>
                    <a:pt x="2" y="307"/>
                  </a:lnTo>
                  <a:lnTo>
                    <a:pt x="0" y="311"/>
                  </a:lnTo>
                  <a:lnTo>
                    <a:pt x="0" y="315"/>
                  </a:lnTo>
                  <a:lnTo>
                    <a:pt x="0" y="321"/>
                  </a:lnTo>
                  <a:lnTo>
                    <a:pt x="2" y="325"/>
                  </a:lnTo>
                  <a:lnTo>
                    <a:pt x="5" y="328"/>
                  </a:lnTo>
                  <a:lnTo>
                    <a:pt x="10" y="330"/>
                  </a:lnTo>
                  <a:lnTo>
                    <a:pt x="15" y="331"/>
                  </a:lnTo>
                  <a:lnTo>
                    <a:pt x="15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C99321B-8B3F-4B91-8A21-8D78E8C5D6C5}"/>
              </a:ext>
            </a:extLst>
          </p:cNvPr>
          <p:cNvGrpSpPr/>
          <p:nvPr/>
        </p:nvGrpSpPr>
        <p:grpSpPr>
          <a:xfrm>
            <a:off x="7626054" y="4808604"/>
            <a:ext cx="757248" cy="757248"/>
            <a:chOff x="8164513" y="4791075"/>
            <a:chExt cx="285750" cy="285750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E1A67703-73E4-4765-8095-170EFA905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4513" y="4791075"/>
              <a:ext cx="285750" cy="285750"/>
            </a:xfrm>
            <a:custGeom>
              <a:avLst/>
              <a:gdLst>
                <a:gd name="T0" fmla="*/ 30 w 902"/>
                <a:gd name="T1" fmla="*/ 571 h 902"/>
                <a:gd name="T2" fmla="*/ 872 w 902"/>
                <a:gd name="T3" fmla="*/ 30 h 902"/>
                <a:gd name="T4" fmla="*/ 887 w 902"/>
                <a:gd name="T5" fmla="*/ 0 h 902"/>
                <a:gd name="T6" fmla="*/ 12 w 902"/>
                <a:gd name="T7" fmla="*/ 0 h 902"/>
                <a:gd name="T8" fmla="*/ 6 w 902"/>
                <a:gd name="T9" fmla="*/ 2 h 902"/>
                <a:gd name="T10" fmla="*/ 2 w 902"/>
                <a:gd name="T11" fmla="*/ 6 h 902"/>
                <a:gd name="T12" fmla="*/ 0 w 902"/>
                <a:gd name="T13" fmla="*/ 12 h 902"/>
                <a:gd name="T14" fmla="*/ 0 w 902"/>
                <a:gd name="T15" fmla="*/ 586 h 902"/>
                <a:gd name="T16" fmla="*/ 1 w 902"/>
                <a:gd name="T17" fmla="*/ 592 h 902"/>
                <a:gd name="T18" fmla="*/ 4 w 902"/>
                <a:gd name="T19" fmla="*/ 597 h 902"/>
                <a:gd name="T20" fmla="*/ 9 w 902"/>
                <a:gd name="T21" fmla="*/ 600 h 902"/>
                <a:gd name="T22" fmla="*/ 15 w 902"/>
                <a:gd name="T23" fmla="*/ 601 h 902"/>
                <a:gd name="T24" fmla="*/ 436 w 902"/>
                <a:gd name="T25" fmla="*/ 701 h 902"/>
                <a:gd name="T26" fmla="*/ 258 w 902"/>
                <a:gd name="T27" fmla="*/ 878 h 902"/>
                <a:gd name="T28" fmla="*/ 255 w 902"/>
                <a:gd name="T29" fmla="*/ 884 h 902"/>
                <a:gd name="T30" fmla="*/ 255 w 902"/>
                <a:gd name="T31" fmla="*/ 890 h 902"/>
                <a:gd name="T32" fmla="*/ 258 w 902"/>
                <a:gd name="T33" fmla="*/ 896 h 902"/>
                <a:gd name="T34" fmla="*/ 262 w 902"/>
                <a:gd name="T35" fmla="*/ 900 h 902"/>
                <a:gd name="T36" fmla="*/ 268 w 902"/>
                <a:gd name="T37" fmla="*/ 902 h 902"/>
                <a:gd name="T38" fmla="*/ 273 w 902"/>
                <a:gd name="T39" fmla="*/ 902 h 902"/>
                <a:gd name="T40" fmla="*/ 279 w 902"/>
                <a:gd name="T41" fmla="*/ 900 h 902"/>
                <a:gd name="T42" fmla="*/ 451 w 902"/>
                <a:gd name="T43" fmla="*/ 727 h 902"/>
                <a:gd name="T44" fmla="*/ 622 w 902"/>
                <a:gd name="T45" fmla="*/ 900 h 902"/>
                <a:gd name="T46" fmla="*/ 628 w 902"/>
                <a:gd name="T47" fmla="*/ 902 h 902"/>
                <a:gd name="T48" fmla="*/ 634 w 902"/>
                <a:gd name="T49" fmla="*/ 902 h 902"/>
                <a:gd name="T50" fmla="*/ 640 w 902"/>
                <a:gd name="T51" fmla="*/ 900 h 902"/>
                <a:gd name="T52" fmla="*/ 644 w 902"/>
                <a:gd name="T53" fmla="*/ 896 h 902"/>
                <a:gd name="T54" fmla="*/ 646 w 902"/>
                <a:gd name="T55" fmla="*/ 890 h 902"/>
                <a:gd name="T56" fmla="*/ 646 w 902"/>
                <a:gd name="T57" fmla="*/ 884 h 902"/>
                <a:gd name="T58" fmla="*/ 644 w 902"/>
                <a:gd name="T59" fmla="*/ 878 h 902"/>
                <a:gd name="T60" fmla="*/ 466 w 902"/>
                <a:gd name="T61" fmla="*/ 701 h 902"/>
                <a:gd name="T62" fmla="*/ 887 w 902"/>
                <a:gd name="T63" fmla="*/ 601 h 902"/>
                <a:gd name="T64" fmla="*/ 892 w 902"/>
                <a:gd name="T65" fmla="*/ 600 h 902"/>
                <a:gd name="T66" fmla="*/ 898 w 902"/>
                <a:gd name="T67" fmla="*/ 597 h 902"/>
                <a:gd name="T68" fmla="*/ 901 w 902"/>
                <a:gd name="T69" fmla="*/ 592 h 902"/>
                <a:gd name="T70" fmla="*/ 902 w 902"/>
                <a:gd name="T71" fmla="*/ 586 h 902"/>
                <a:gd name="T72" fmla="*/ 901 w 902"/>
                <a:gd name="T73" fmla="*/ 12 h 902"/>
                <a:gd name="T74" fmla="*/ 899 w 902"/>
                <a:gd name="T75" fmla="*/ 6 h 902"/>
                <a:gd name="T76" fmla="*/ 896 w 902"/>
                <a:gd name="T77" fmla="*/ 2 h 902"/>
                <a:gd name="T78" fmla="*/ 890 w 902"/>
                <a:gd name="T7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2" h="902">
                  <a:moveTo>
                    <a:pt x="872" y="571"/>
                  </a:moveTo>
                  <a:lnTo>
                    <a:pt x="30" y="571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71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6"/>
                  </a:lnTo>
                  <a:lnTo>
                    <a:pt x="0" y="589"/>
                  </a:lnTo>
                  <a:lnTo>
                    <a:pt x="1" y="592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436" y="601"/>
                  </a:lnTo>
                  <a:lnTo>
                    <a:pt x="436" y="701"/>
                  </a:lnTo>
                  <a:lnTo>
                    <a:pt x="259" y="876"/>
                  </a:lnTo>
                  <a:lnTo>
                    <a:pt x="258" y="878"/>
                  </a:lnTo>
                  <a:lnTo>
                    <a:pt x="256" y="882"/>
                  </a:lnTo>
                  <a:lnTo>
                    <a:pt x="255" y="884"/>
                  </a:lnTo>
                  <a:lnTo>
                    <a:pt x="255" y="887"/>
                  </a:lnTo>
                  <a:lnTo>
                    <a:pt x="255" y="890"/>
                  </a:lnTo>
                  <a:lnTo>
                    <a:pt x="256" y="892"/>
                  </a:lnTo>
                  <a:lnTo>
                    <a:pt x="258" y="896"/>
                  </a:lnTo>
                  <a:lnTo>
                    <a:pt x="259" y="898"/>
                  </a:lnTo>
                  <a:lnTo>
                    <a:pt x="262" y="900"/>
                  </a:lnTo>
                  <a:lnTo>
                    <a:pt x="265" y="901"/>
                  </a:lnTo>
                  <a:lnTo>
                    <a:pt x="268" y="902"/>
                  </a:lnTo>
                  <a:lnTo>
                    <a:pt x="270" y="902"/>
                  </a:lnTo>
                  <a:lnTo>
                    <a:pt x="273" y="902"/>
                  </a:lnTo>
                  <a:lnTo>
                    <a:pt x="276" y="901"/>
                  </a:lnTo>
                  <a:lnTo>
                    <a:pt x="279" y="900"/>
                  </a:lnTo>
                  <a:lnTo>
                    <a:pt x="281" y="898"/>
                  </a:lnTo>
                  <a:lnTo>
                    <a:pt x="451" y="727"/>
                  </a:lnTo>
                  <a:lnTo>
                    <a:pt x="620" y="898"/>
                  </a:lnTo>
                  <a:lnTo>
                    <a:pt x="622" y="900"/>
                  </a:lnTo>
                  <a:lnTo>
                    <a:pt x="626" y="901"/>
                  </a:lnTo>
                  <a:lnTo>
                    <a:pt x="628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6" y="901"/>
                  </a:lnTo>
                  <a:lnTo>
                    <a:pt x="640" y="900"/>
                  </a:lnTo>
                  <a:lnTo>
                    <a:pt x="642" y="898"/>
                  </a:lnTo>
                  <a:lnTo>
                    <a:pt x="644" y="896"/>
                  </a:lnTo>
                  <a:lnTo>
                    <a:pt x="645" y="892"/>
                  </a:lnTo>
                  <a:lnTo>
                    <a:pt x="646" y="890"/>
                  </a:lnTo>
                  <a:lnTo>
                    <a:pt x="646" y="887"/>
                  </a:lnTo>
                  <a:lnTo>
                    <a:pt x="646" y="884"/>
                  </a:lnTo>
                  <a:lnTo>
                    <a:pt x="645" y="882"/>
                  </a:lnTo>
                  <a:lnTo>
                    <a:pt x="644" y="878"/>
                  </a:lnTo>
                  <a:lnTo>
                    <a:pt x="642" y="876"/>
                  </a:lnTo>
                  <a:lnTo>
                    <a:pt x="466" y="701"/>
                  </a:lnTo>
                  <a:lnTo>
                    <a:pt x="466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2"/>
                  </a:lnTo>
                  <a:lnTo>
                    <a:pt x="901" y="589"/>
                  </a:lnTo>
                  <a:lnTo>
                    <a:pt x="902" y="58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6"/>
                  </a:lnTo>
                  <a:lnTo>
                    <a:pt x="898" y="4"/>
                  </a:lnTo>
                  <a:lnTo>
                    <a:pt x="896" y="2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95AB168-59B6-4BC7-A617-160001933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3088" y="4819650"/>
              <a:ext cx="228600" cy="133350"/>
            </a:xfrm>
            <a:custGeom>
              <a:avLst/>
              <a:gdLst>
                <a:gd name="T0" fmla="*/ 691 w 722"/>
                <a:gd name="T1" fmla="*/ 391 h 421"/>
                <a:gd name="T2" fmla="*/ 30 w 722"/>
                <a:gd name="T3" fmla="*/ 241 h 421"/>
                <a:gd name="T4" fmla="*/ 153 w 722"/>
                <a:gd name="T5" fmla="*/ 240 h 421"/>
                <a:gd name="T6" fmla="*/ 159 w 722"/>
                <a:gd name="T7" fmla="*/ 238 h 421"/>
                <a:gd name="T8" fmla="*/ 229 w 722"/>
                <a:gd name="T9" fmla="*/ 165 h 421"/>
                <a:gd name="T10" fmla="*/ 288 w 722"/>
                <a:gd name="T11" fmla="*/ 310 h 421"/>
                <a:gd name="T12" fmla="*/ 294 w 722"/>
                <a:gd name="T13" fmla="*/ 314 h 421"/>
                <a:gd name="T14" fmla="*/ 299 w 722"/>
                <a:gd name="T15" fmla="*/ 316 h 421"/>
                <a:gd name="T16" fmla="*/ 303 w 722"/>
                <a:gd name="T17" fmla="*/ 316 h 421"/>
                <a:gd name="T18" fmla="*/ 309 w 722"/>
                <a:gd name="T19" fmla="*/ 313 h 421"/>
                <a:gd name="T20" fmla="*/ 406 w 722"/>
                <a:gd name="T21" fmla="*/ 216 h 421"/>
                <a:gd name="T22" fmla="*/ 472 w 722"/>
                <a:gd name="T23" fmla="*/ 283 h 421"/>
                <a:gd name="T24" fmla="*/ 479 w 722"/>
                <a:gd name="T25" fmla="*/ 286 h 421"/>
                <a:gd name="T26" fmla="*/ 485 w 722"/>
                <a:gd name="T27" fmla="*/ 285 h 421"/>
                <a:gd name="T28" fmla="*/ 491 w 722"/>
                <a:gd name="T29" fmla="*/ 283 h 421"/>
                <a:gd name="T30" fmla="*/ 628 w 722"/>
                <a:gd name="T31" fmla="*/ 115 h 421"/>
                <a:gd name="T32" fmla="*/ 631 w 722"/>
                <a:gd name="T33" fmla="*/ 109 h 421"/>
                <a:gd name="T34" fmla="*/ 631 w 722"/>
                <a:gd name="T35" fmla="*/ 104 h 421"/>
                <a:gd name="T36" fmla="*/ 630 w 722"/>
                <a:gd name="T37" fmla="*/ 99 h 421"/>
                <a:gd name="T38" fmla="*/ 626 w 722"/>
                <a:gd name="T39" fmla="*/ 93 h 421"/>
                <a:gd name="T40" fmla="*/ 620 w 722"/>
                <a:gd name="T41" fmla="*/ 91 h 421"/>
                <a:gd name="T42" fmla="*/ 615 w 722"/>
                <a:gd name="T43" fmla="*/ 90 h 421"/>
                <a:gd name="T44" fmla="*/ 610 w 722"/>
                <a:gd name="T45" fmla="*/ 92 h 421"/>
                <a:gd name="T46" fmla="*/ 604 w 722"/>
                <a:gd name="T47" fmla="*/ 95 h 421"/>
                <a:gd name="T48" fmla="*/ 417 w 722"/>
                <a:gd name="T49" fmla="*/ 185 h 421"/>
                <a:gd name="T50" fmla="*/ 411 w 722"/>
                <a:gd name="T51" fmla="*/ 181 h 421"/>
                <a:gd name="T52" fmla="*/ 406 w 722"/>
                <a:gd name="T53" fmla="*/ 180 h 421"/>
                <a:gd name="T54" fmla="*/ 400 w 722"/>
                <a:gd name="T55" fmla="*/ 181 h 421"/>
                <a:gd name="T56" fmla="*/ 395 w 722"/>
                <a:gd name="T57" fmla="*/ 185 h 421"/>
                <a:gd name="T58" fmla="*/ 249 w 722"/>
                <a:gd name="T59" fmla="*/ 132 h 421"/>
                <a:gd name="T60" fmla="*/ 243 w 722"/>
                <a:gd name="T61" fmla="*/ 126 h 421"/>
                <a:gd name="T62" fmla="*/ 237 w 722"/>
                <a:gd name="T63" fmla="*/ 123 h 421"/>
                <a:gd name="T64" fmla="*/ 229 w 722"/>
                <a:gd name="T65" fmla="*/ 123 h 421"/>
                <a:gd name="T66" fmla="*/ 223 w 722"/>
                <a:gd name="T67" fmla="*/ 128 h 421"/>
                <a:gd name="T68" fmla="*/ 30 w 722"/>
                <a:gd name="T69" fmla="*/ 211 h 421"/>
                <a:gd name="T70" fmla="*/ 691 w 722"/>
                <a:gd name="T71" fmla="*/ 30 h 421"/>
                <a:gd name="T72" fmla="*/ 707 w 722"/>
                <a:gd name="T73" fmla="*/ 421 h 421"/>
                <a:gd name="T74" fmla="*/ 712 w 722"/>
                <a:gd name="T75" fmla="*/ 420 h 421"/>
                <a:gd name="T76" fmla="*/ 717 w 722"/>
                <a:gd name="T77" fmla="*/ 417 h 421"/>
                <a:gd name="T78" fmla="*/ 720 w 722"/>
                <a:gd name="T79" fmla="*/ 411 h 421"/>
                <a:gd name="T80" fmla="*/ 722 w 722"/>
                <a:gd name="T81" fmla="*/ 406 h 421"/>
                <a:gd name="T82" fmla="*/ 721 w 722"/>
                <a:gd name="T83" fmla="*/ 12 h 421"/>
                <a:gd name="T84" fmla="*/ 719 w 722"/>
                <a:gd name="T85" fmla="*/ 6 h 421"/>
                <a:gd name="T86" fmla="*/ 715 w 722"/>
                <a:gd name="T87" fmla="*/ 2 h 421"/>
                <a:gd name="T88" fmla="*/ 709 w 722"/>
                <a:gd name="T89" fmla="*/ 0 h 421"/>
                <a:gd name="T90" fmla="*/ 15 w 722"/>
                <a:gd name="T91" fmla="*/ 0 h 421"/>
                <a:gd name="T92" fmla="*/ 9 w 722"/>
                <a:gd name="T93" fmla="*/ 1 h 421"/>
                <a:gd name="T94" fmla="*/ 4 w 722"/>
                <a:gd name="T95" fmla="*/ 4 h 421"/>
                <a:gd name="T96" fmla="*/ 1 w 722"/>
                <a:gd name="T97" fmla="*/ 10 h 421"/>
                <a:gd name="T98" fmla="*/ 0 w 722"/>
                <a:gd name="T99" fmla="*/ 15 h 421"/>
                <a:gd name="T100" fmla="*/ 0 w 722"/>
                <a:gd name="T101" fmla="*/ 409 h 421"/>
                <a:gd name="T102" fmla="*/ 2 w 722"/>
                <a:gd name="T103" fmla="*/ 415 h 421"/>
                <a:gd name="T104" fmla="*/ 6 w 722"/>
                <a:gd name="T105" fmla="*/ 419 h 421"/>
                <a:gd name="T106" fmla="*/ 12 w 722"/>
                <a:gd name="T107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21">
                  <a:moveTo>
                    <a:pt x="691" y="30"/>
                  </a:moveTo>
                  <a:lnTo>
                    <a:pt x="691" y="391"/>
                  </a:lnTo>
                  <a:lnTo>
                    <a:pt x="30" y="391"/>
                  </a:lnTo>
                  <a:lnTo>
                    <a:pt x="30" y="241"/>
                  </a:lnTo>
                  <a:lnTo>
                    <a:pt x="150" y="241"/>
                  </a:lnTo>
                  <a:lnTo>
                    <a:pt x="153" y="240"/>
                  </a:lnTo>
                  <a:lnTo>
                    <a:pt x="156" y="239"/>
                  </a:lnTo>
                  <a:lnTo>
                    <a:pt x="159" y="238"/>
                  </a:lnTo>
                  <a:lnTo>
                    <a:pt x="161" y="236"/>
                  </a:lnTo>
                  <a:lnTo>
                    <a:pt x="229" y="165"/>
                  </a:lnTo>
                  <a:lnTo>
                    <a:pt x="287" y="306"/>
                  </a:lnTo>
                  <a:lnTo>
                    <a:pt x="288" y="310"/>
                  </a:lnTo>
                  <a:lnTo>
                    <a:pt x="291" y="313"/>
                  </a:lnTo>
                  <a:lnTo>
                    <a:pt x="294" y="314"/>
                  </a:lnTo>
                  <a:lnTo>
                    <a:pt x="298" y="316"/>
                  </a:lnTo>
                  <a:lnTo>
                    <a:pt x="299" y="316"/>
                  </a:lnTo>
                  <a:lnTo>
                    <a:pt x="301" y="316"/>
                  </a:lnTo>
                  <a:lnTo>
                    <a:pt x="303" y="316"/>
                  </a:lnTo>
                  <a:lnTo>
                    <a:pt x="306" y="315"/>
                  </a:lnTo>
                  <a:lnTo>
                    <a:pt x="309" y="313"/>
                  </a:lnTo>
                  <a:lnTo>
                    <a:pt x="312" y="312"/>
                  </a:lnTo>
                  <a:lnTo>
                    <a:pt x="406" y="216"/>
                  </a:lnTo>
                  <a:lnTo>
                    <a:pt x="470" y="282"/>
                  </a:lnTo>
                  <a:lnTo>
                    <a:pt x="472" y="283"/>
                  </a:lnTo>
                  <a:lnTo>
                    <a:pt x="476" y="285"/>
                  </a:lnTo>
                  <a:lnTo>
                    <a:pt x="479" y="286"/>
                  </a:lnTo>
                  <a:lnTo>
                    <a:pt x="482" y="286"/>
                  </a:lnTo>
                  <a:lnTo>
                    <a:pt x="485" y="285"/>
                  </a:lnTo>
                  <a:lnTo>
                    <a:pt x="487" y="284"/>
                  </a:lnTo>
                  <a:lnTo>
                    <a:pt x="491" y="283"/>
                  </a:lnTo>
                  <a:lnTo>
                    <a:pt x="493" y="281"/>
                  </a:lnTo>
                  <a:lnTo>
                    <a:pt x="628" y="115"/>
                  </a:lnTo>
                  <a:lnTo>
                    <a:pt x="630" y="113"/>
                  </a:lnTo>
                  <a:lnTo>
                    <a:pt x="631" y="109"/>
                  </a:lnTo>
                  <a:lnTo>
                    <a:pt x="631" y="106"/>
                  </a:lnTo>
                  <a:lnTo>
                    <a:pt x="631" y="104"/>
                  </a:lnTo>
                  <a:lnTo>
                    <a:pt x="631" y="101"/>
                  </a:lnTo>
                  <a:lnTo>
                    <a:pt x="630" y="99"/>
                  </a:lnTo>
                  <a:lnTo>
                    <a:pt x="628" y="95"/>
                  </a:lnTo>
                  <a:lnTo>
                    <a:pt x="626" y="93"/>
                  </a:lnTo>
                  <a:lnTo>
                    <a:pt x="623" y="92"/>
                  </a:lnTo>
                  <a:lnTo>
                    <a:pt x="620" y="91"/>
                  </a:lnTo>
                  <a:lnTo>
                    <a:pt x="618" y="90"/>
                  </a:lnTo>
                  <a:lnTo>
                    <a:pt x="615" y="90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6" y="93"/>
                  </a:lnTo>
                  <a:lnTo>
                    <a:pt x="604" y="95"/>
                  </a:lnTo>
                  <a:lnTo>
                    <a:pt x="480" y="249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1" y="181"/>
                  </a:lnTo>
                  <a:lnTo>
                    <a:pt x="409" y="181"/>
                  </a:lnTo>
                  <a:lnTo>
                    <a:pt x="406" y="180"/>
                  </a:lnTo>
                  <a:lnTo>
                    <a:pt x="403" y="181"/>
                  </a:lnTo>
                  <a:lnTo>
                    <a:pt x="400" y="181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06" y="274"/>
                  </a:lnTo>
                  <a:lnTo>
                    <a:pt x="249" y="132"/>
                  </a:lnTo>
                  <a:lnTo>
                    <a:pt x="246" y="129"/>
                  </a:lnTo>
                  <a:lnTo>
                    <a:pt x="243" y="126"/>
                  </a:lnTo>
                  <a:lnTo>
                    <a:pt x="241" y="124"/>
                  </a:lnTo>
                  <a:lnTo>
                    <a:pt x="237" y="123"/>
                  </a:lnTo>
                  <a:lnTo>
                    <a:pt x="234" y="123"/>
                  </a:lnTo>
                  <a:lnTo>
                    <a:pt x="229" y="123"/>
                  </a:lnTo>
                  <a:lnTo>
                    <a:pt x="226" y="125"/>
                  </a:lnTo>
                  <a:lnTo>
                    <a:pt x="223" y="128"/>
                  </a:lnTo>
                  <a:lnTo>
                    <a:pt x="144" y="211"/>
                  </a:lnTo>
                  <a:lnTo>
                    <a:pt x="30" y="211"/>
                  </a:lnTo>
                  <a:lnTo>
                    <a:pt x="30" y="30"/>
                  </a:lnTo>
                  <a:lnTo>
                    <a:pt x="691" y="30"/>
                  </a:lnTo>
                  <a:close/>
                  <a:moveTo>
                    <a:pt x="15" y="421"/>
                  </a:moveTo>
                  <a:lnTo>
                    <a:pt x="707" y="421"/>
                  </a:lnTo>
                  <a:lnTo>
                    <a:pt x="709" y="421"/>
                  </a:lnTo>
                  <a:lnTo>
                    <a:pt x="712" y="420"/>
                  </a:lnTo>
                  <a:lnTo>
                    <a:pt x="715" y="419"/>
                  </a:lnTo>
                  <a:lnTo>
                    <a:pt x="717" y="417"/>
                  </a:lnTo>
                  <a:lnTo>
                    <a:pt x="719" y="415"/>
                  </a:lnTo>
                  <a:lnTo>
                    <a:pt x="720" y="411"/>
                  </a:lnTo>
                  <a:lnTo>
                    <a:pt x="721" y="409"/>
                  </a:lnTo>
                  <a:lnTo>
                    <a:pt x="722" y="406"/>
                  </a:lnTo>
                  <a:lnTo>
                    <a:pt x="722" y="15"/>
                  </a:lnTo>
                  <a:lnTo>
                    <a:pt x="721" y="12"/>
                  </a:lnTo>
                  <a:lnTo>
                    <a:pt x="720" y="10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2" y="1"/>
                  </a:lnTo>
                  <a:lnTo>
                    <a:pt x="709" y="0"/>
                  </a:lnTo>
                  <a:lnTo>
                    <a:pt x="70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1"/>
                  </a:lnTo>
                  <a:lnTo>
                    <a:pt x="2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9" y="420"/>
                  </a:lnTo>
                  <a:lnTo>
                    <a:pt x="12" y="421"/>
                  </a:lnTo>
                  <a:lnTo>
                    <a:pt x="15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831A7767-4C71-4C7F-84A0-DAD5B9D3BAAD}"/>
              </a:ext>
            </a:extLst>
          </p:cNvPr>
          <p:cNvGrpSpPr/>
          <p:nvPr/>
        </p:nvGrpSpPr>
        <p:grpSpPr>
          <a:xfrm>
            <a:off x="4374725" y="4846466"/>
            <a:ext cx="757248" cy="681526"/>
            <a:chOff x="11601450" y="3100388"/>
            <a:chExt cx="285750" cy="257175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21" name="Freeform 252">
              <a:extLst>
                <a:ext uri="{FF2B5EF4-FFF2-40B4-BE49-F238E27FC236}">
                  <a16:creationId xmlns:a16="http://schemas.microsoft.com/office/drawing/2014/main" id="{F5AA7631-9CDD-4238-A325-2EF5ED10C6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01450" y="3100388"/>
              <a:ext cx="285750" cy="257175"/>
            </a:xfrm>
            <a:custGeom>
              <a:avLst/>
              <a:gdLst>
                <a:gd name="T0" fmla="*/ 872 w 902"/>
                <a:gd name="T1" fmla="*/ 710 h 812"/>
                <a:gd name="T2" fmla="*/ 870 w 902"/>
                <a:gd name="T3" fmla="*/ 716 h 812"/>
                <a:gd name="T4" fmla="*/ 866 w 902"/>
                <a:gd name="T5" fmla="*/ 720 h 812"/>
                <a:gd name="T6" fmla="*/ 860 w 902"/>
                <a:gd name="T7" fmla="*/ 722 h 812"/>
                <a:gd name="T8" fmla="*/ 45 w 902"/>
                <a:gd name="T9" fmla="*/ 722 h 812"/>
                <a:gd name="T10" fmla="*/ 40 w 902"/>
                <a:gd name="T11" fmla="*/ 721 h 812"/>
                <a:gd name="T12" fmla="*/ 34 w 902"/>
                <a:gd name="T13" fmla="*/ 718 h 812"/>
                <a:gd name="T14" fmla="*/ 31 w 902"/>
                <a:gd name="T15" fmla="*/ 714 h 812"/>
                <a:gd name="T16" fmla="*/ 30 w 902"/>
                <a:gd name="T17" fmla="*/ 707 h 812"/>
                <a:gd name="T18" fmla="*/ 30 w 902"/>
                <a:gd name="T19" fmla="*/ 43 h 812"/>
                <a:gd name="T20" fmla="*/ 32 w 902"/>
                <a:gd name="T21" fmla="*/ 38 h 812"/>
                <a:gd name="T22" fmla="*/ 36 w 902"/>
                <a:gd name="T23" fmla="*/ 33 h 812"/>
                <a:gd name="T24" fmla="*/ 42 w 902"/>
                <a:gd name="T25" fmla="*/ 31 h 812"/>
                <a:gd name="T26" fmla="*/ 857 w 902"/>
                <a:gd name="T27" fmla="*/ 30 h 812"/>
                <a:gd name="T28" fmla="*/ 862 w 902"/>
                <a:gd name="T29" fmla="*/ 32 h 812"/>
                <a:gd name="T30" fmla="*/ 868 w 902"/>
                <a:gd name="T31" fmla="*/ 36 h 812"/>
                <a:gd name="T32" fmla="*/ 871 w 902"/>
                <a:gd name="T33" fmla="*/ 40 h 812"/>
                <a:gd name="T34" fmla="*/ 872 w 902"/>
                <a:gd name="T35" fmla="*/ 46 h 812"/>
                <a:gd name="T36" fmla="*/ 782 w 902"/>
                <a:gd name="T37" fmla="*/ 782 h 812"/>
                <a:gd name="T38" fmla="*/ 722 w 902"/>
                <a:gd name="T39" fmla="*/ 752 h 812"/>
                <a:gd name="T40" fmla="*/ 782 w 902"/>
                <a:gd name="T41" fmla="*/ 782 h 812"/>
                <a:gd name="T42" fmla="*/ 120 w 902"/>
                <a:gd name="T43" fmla="*/ 782 h 812"/>
                <a:gd name="T44" fmla="*/ 180 w 902"/>
                <a:gd name="T45" fmla="*/ 752 h 812"/>
                <a:gd name="T46" fmla="*/ 857 w 902"/>
                <a:gd name="T47" fmla="*/ 0 h 812"/>
                <a:gd name="T48" fmla="*/ 36 w 902"/>
                <a:gd name="T49" fmla="*/ 1 h 812"/>
                <a:gd name="T50" fmla="*/ 19 w 902"/>
                <a:gd name="T51" fmla="*/ 9 h 812"/>
                <a:gd name="T52" fmla="*/ 8 w 902"/>
                <a:gd name="T53" fmla="*/ 21 h 812"/>
                <a:gd name="T54" fmla="*/ 1 w 902"/>
                <a:gd name="T55" fmla="*/ 37 h 812"/>
                <a:gd name="T56" fmla="*/ 0 w 902"/>
                <a:gd name="T57" fmla="*/ 707 h 812"/>
                <a:gd name="T58" fmla="*/ 3 w 902"/>
                <a:gd name="T59" fmla="*/ 724 h 812"/>
                <a:gd name="T60" fmla="*/ 13 w 902"/>
                <a:gd name="T61" fmla="*/ 739 h 812"/>
                <a:gd name="T62" fmla="*/ 28 w 902"/>
                <a:gd name="T63" fmla="*/ 749 h 812"/>
                <a:gd name="T64" fmla="*/ 45 w 902"/>
                <a:gd name="T65" fmla="*/ 752 h 812"/>
                <a:gd name="T66" fmla="*/ 90 w 902"/>
                <a:gd name="T67" fmla="*/ 797 h 812"/>
                <a:gd name="T68" fmla="*/ 91 w 902"/>
                <a:gd name="T69" fmla="*/ 804 h 812"/>
                <a:gd name="T70" fmla="*/ 94 w 902"/>
                <a:gd name="T71" fmla="*/ 808 h 812"/>
                <a:gd name="T72" fmla="*/ 100 w 902"/>
                <a:gd name="T73" fmla="*/ 811 h 812"/>
                <a:gd name="T74" fmla="*/ 105 w 902"/>
                <a:gd name="T75" fmla="*/ 812 h 812"/>
                <a:gd name="T76" fmla="*/ 198 w 902"/>
                <a:gd name="T77" fmla="*/ 812 h 812"/>
                <a:gd name="T78" fmla="*/ 204 w 902"/>
                <a:gd name="T79" fmla="*/ 810 h 812"/>
                <a:gd name="T80" fmla="*/ 208 w 902"/>
                <a:gd name="T81" fmla="*/ 806 h 812"/>
                <a:gd name="T82" fmla="*/ 210 w 902"/>
                <a:gd name="T83" fmla="*/ 800 h 812"/>
                <a:gd name="T84" fmla="*/ 210 w 902"/>
                <a:gd name="T85" fmla="*/ 752 h 812"/>
                <a:gd name="T86" fmla="*/ 692 w 902"/>
                <a:gd name="T87" fmla="*/ 797 h 812"/>
                <a:gd name="T88" fmla="*/ 693 w 902"/>
                <a:gd name="T89" fmla="*/ 804 h 812"/>
                <a:gd name="T90" fmla="*/ 696 w 902"/>
                <a:gd name="T91" fmla="*/ 808 h 812"/>
                <a:gd name="T92" fmla="*/ 701 w 902"/>
                <a:gd name="T93" fmla="*/ 811 h 812"/>
                <a:gd name="T94" fmla="*/ 707 w 902"/>
                <a:gd name="T95" fmla="*/ 812 h 812"/>
                <a:gd name="T96" fmla="*/ 800 w 902"/>
                <a:gd name="T97" fmla="*/ 812 h 812"/>
                <a:gd name="T98" fmla="*/ 806 w 902"/>
                <a:gd name="T99" fmla="*/ 810 h 812"/>
                <a:gd name="T100" fmla="*/ 809 w 902"/>
                <a:gd name="T101" fmla="*/ 806 h 812"/>
                <a:gd name="T102" fmla="*/ 811 w 902"/>
                <a:gd name="T103" fmla="*/ 800 h 812"/>
                <a:gd name="T104" fmla="*/ 812 w 902"/>
                <a:gd name="T105" fmla="*/ 752 h 812"/>
                <a:gd name="T106" fmla="*/ 866 w 902"/>
                <a:gd name="T107" fmla="*/ 751 h 812"/>
                <a:gd name="T108" fmla="*/ 882 w 902"/>
                <a:gd name="T109" fmla="*/ 745 h 812"/>
                <a:gd name="T110" fmla="*/ 895 w 902"/>
                <a:gd name="T111" fmla="*/ 733 h 812"/>
                <a:gd name="T112" fmla="*/ 901 w 902"/>
                <a:gd name="T113" fmla="*/ 717 h 812"/>
                <a:gd name="T114" fmla="*/ 902 w 902"/>
                <a:gd name="T115" fmla="*/ 46 h 812"/>
                <a:gd name="T116" fmla="*/ 899 w 902"/>
                <a:gd name="T117" fmla="*/ 28 h 812"/>
                <a:gd name="T118" fmla="*/ 889 w 902"/>
                <a:gd name="T119" fmla="*/ 14 h 812"/>
                <a:gd name="T120" fmla="*/ 874 w 902"/>
                <a:gd name="T121" fmla="*/ 5 h 812"/>
                <a:gd name="T122" fmla="*/ 857 w 902"/>
                <a:gd name="T12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2" h="812">
                  <a:moveTo>
                    <a:pt x="872" y="707"/>
                  </a:moveTo>
                  <a:lnTo>
                    <a:pt x="872" y="710"/>
                  </a:lnTo>
                  <a:lnTo>
                    <a:pt x="871" y="714"/>
                  </a:lnTo>
                  <a:lnTo>
                    <a:pt x="870" y="716"/>
                  </a:lnTo>
                  <a:lnTo>
                    <a:pt x="868" y="718"/>
                  </a:lnTo>
                  <a:lnTo>
                    <a:pt x="866" y="720"/>
                  </a:lnTo>
                  <a:lnTo>
                    <a:pt x="862" y="721"/>
                  </a:lnTo>
                  <a:lnTo>
                    <a:pt x="860" y="722"/>
                  </a:lnTo>
                  <a:lnTo>
                    <a:pt x="857" y="722"/>
                  </a:lnTo>
                  <a:lnTo>
                    <a:pt x="45" y="722"/>
                  </a:lnTo>
                  <a:lnTo>
                    <a:pt x="42" y="722"/>
                  </a:lnTo>
                  <a:lnTo>
                    <a:pt x="40" y="721"/>
                  </a:lnTo>
                  <a:lnTo>
                    <a:pt x="36" y="720"/>
                  </a:lnTo>
                  <a:lnTo>
                    <a:pt x="34" y="718"/>
                  </a:lnTo>
                  <a:lnTo>
                    <a:pt x="32" y="716"/>
                  </a:lnTo>
                  <a:lnTo>
                    <a:pt x="31" y="714"/>
                  </a:lnTo>
                  <a:lnTo>
                    <a:pt x="30" y="710"/>
                  </a:lnTo>
                  <a:lnTo>
                    <a:pt x="30" y="707"/>
                  </a:lnTo>
                  <a:lnTo>
                    <a:pt x="30" y="46"/>
                  </a:lnTo>
                  <a:lnTo>
                    <a:pt x="30" y="43"/>
                  </a:lnTo>
                  <a:lnTo>
                    <a:pt x="31" y="40"/>
                  </a:lnTo>
                  <a:lnTo>
                    <a:pt x="32" y="38"/>
                  </a:lnTo>
                  <a:lnTo>
                    <a:pt x="34" y="36"/>
                  </a:lnTo>
                  <a:lnTo>
                    <a:pt x="36" y="33"/>
                  </a:lnTo>
                  <a:lnTo>
                    <a:pt x="40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857" y="30"/>
                  </a:lnTo>
                  <a:lnTo>
                    <a:pt x="860" y="31"/>
                  </a:lnTo>
                  <a:lnTo>
                    <a:pt x="862" y="32"/>
                  </a:lnTo>
                  <a:lnTo>
                    <a:pt x="866" y="33"/>
                  </a:lnTo>
                  <a:lnTo>
                    <a:pt x="868" y="36"/>
                  </a:lnTo>
                  <a:lnTo>
                    <a:pt x="870" y="38"/>
                  </a:lnTo>
                  <a:lnTo>
                    <a:pt x="871" y="40"/>
                  </a:lnTo>
                  <a:lnTo>
                    <a:pt x="872" y="43"/>
                  </a:lnTo>
                  <a:lnTo>
                    <a:pt x="872" y="46"/>
                  </a:lnTo>
                  <a:lnTo>
                    <a:pt x="872" y="707"/>
                  </a:lnTo>
                  <a:close/>
                  <a:moveTo>
                    <a:pt x="782" y="782"/>
                  </a:moveTo>
                  <a:lnTo>
                    <a:pt x="722" y="782"/>
                  </a:lnTo>
                  <a:lnTo>
                    <a:pt x="722" y="752"/>
                  </a:lnTo>
                  <a:lnTo>
                    <a:pt x="782" y="752"/>
                  </a:lnTo>
                  <a:lnTo>
                    <a:pt x="782" y="782"/>
                  </a:lnTo>
                  <a:close/>
                  <a:moveTo>
                    <a:pt x="180" y="782"/>
                  </a:moveTo>
                  <a:lnTo>
                    <a:pt x="120" y="782"/>
                  </a:lnTo>
                  <a:lnTo>
                    <a:pt x="120" y="752"/>
                  </a:lnTo>
                  <a:lnTo>
                    <a:pt x="180" y="752"/>
                  </a:lnTo>
                  <a:lnTo>
                    <a:pt x="180" y="782"/>
                  </a:lnTo>
                  <a:close/>
                  <a:moveTo>
                    <a:pt x="857" y="0"/>
                  </a:moveTo>
                  <a:lnTo>
                    <a:pt x="45" y="0"/>
                  </a:lnTo>
                  <a:lnTo>
                    <a:pt x="36" y="1"/>
                  </a:lnTo>
                  <a:lnTo>
                    <a:pt x="28" y="5"/>
                  </a:lnTo>
                  <a:lnTo>
                    <a:pt x="19" y="9"/>
                  </a:lnTo>
                  <a:lnTo>
                    <a:pt x="13" y="14"/>
                  </a:lnTo>
                  <a:lnTo>
                    <a:pt x="8" y="21"/>
                  </a:lnTo>
                  <a:lnTo>
                    <a:pt x="3" y="28"/>
                  </a:lnTo>
                  <a:lnTo>
                    <a:pt x="1" y="37"/>
                  </a:lnTo>
                  <a:lnTo>
                    <a:pt x="0" y="46"/>
                  </a:lnTo>
                  <a:lnTo>
                    <a:pt x="0" y="707"/>
                  </a:lnTo>
                  <a:lnTo>
                    <a:pt x="1" y="716"/>
                  </a:lnTo>
                  <a:lnTo>
                    <a:pt x="3" y="724"/>
                  </a:lnTo>
                  <a:lnTo>
                    <a:pt x="8" y="733"/>
                  </a:lnTo>
                  <a:lnTo>
                    <a:pt x="13" y="739"/>
                  </a:lnTo>
                  <a:lnTo>
                    <a:pt x="19" y="745"/>
                  </a:lnTo>
                  <a:lnTo>
                    <a:pt x="28" y="749"/>
                  </a:lnTo>
                  <a:lnTo>
                    <a:pt x="36" y="751"/>
                  </a:lnTo>
                  <a:lnTo>
                    <a:pt x="45" y="752"/>
                  </a:lnTo>
                  <a:lnTo>
                    <a:pt x="90" y="752"/>
                  </a:lnTo>
                  <a:lnTo>
                    <a:pt x="90" y="797"/>
                  </a:lnTo>
                  <a:lnTo>
                    <a:pt x="90" y="800"/>
                  </a:lnTo>
                  <a:lnTo>
                    <a:pt x="91" y="804"/>
                  </a:lnTo>
                  <a:lnTo>
                    <a:pt x="93" y="806"/>
                  </a:lnTo>
                  <a:lnTo>
                    <a:pt x="94" y="808"/>
                  </a:lnTo>
                  <a:lnTo>
                    <a:pt x="96" y="810"/>
                  </a:lnTo>
                  <a:lnTo>
                    <a:pt x="100" y="811"/>
                  </a:lnTo>
                  <a:lnTo>
                    <a:pt x="102" y="812"/>
                  </a:lnTo>
                  <a:lnTo>
                    <a:pt x="105" y="812"/>
                  </a:lnTo>
                  <a:lnTo>
                    <a:pt x="195" y="812"/>
                  </a:lnTo>
                  <a:lnTo>
                    <a:pt x="198" y="812"/>
                  </a:lnTo>
                  <a:lnTo>
                    <a:pt x="201" y="811"/>
                  </a:lnTo>
                  <a:lnTo>
                    <a:pt x="204" y="810"/>
                  </a:lnTo>
                  <a:lnTo>
                    <a:pt x="206" y="808"/>
                  </a:lnTo>
                  <a:lnTo>
                    <a:pt x="208" y="806"/>
                  </a:lnTo>
                  <a:lnTo>
                    <a:pt x="209" y="804"/>
                  </a:lnTo>
                  <a:lnTo>
                    <a:pt x="210" y="800"/>
                  </a:lnTo>
                  <a:lnTo>
                    <a:pt x="210" y="797"/>
                  </a:lnTo>
                  <a:lnTo>
                    <a:pt x="210" y="752"/>
                  </a:lnTo>
                  <a:lnTo>
                    <a:pt x="692" y="752"/>
                  </a:lnTo>
                  <a:lnTo>
                    <a:pt x="692" y="797"/>
                  </a:lnTo>
                  <a:lnTo>
                    <a:pt x="692" y="800"/>
                  </a:lnTo>
                  <a:lnTo>
                    <a:pt x="693" y="804"/>
                  </a:lnTo>
                  <a:lnTo>
                    <a:pt x="694" y="806"/>
                  </a:lnTo>
                  <a:lnTo>
                    <a:pt x="696" y="808"/>
                  </a:lnTo>
                  <a:lnTo>
                    <a:pt x="698" y="810"/>
                  </a:lnTo>
                  <a:lnTo>
                    <a:pt x="701" y="811"/>
                  </a:lnTo>
                  <a:lnTo>
                    <a:pt x="704" y="812"/>
                  </a:lnTo>
                  <a:lnTo>
                    <a:pt x="707" y="812"/>
                  </a:lnTo>
                  <a:lnTo>
                    <a:pt x="797" y="812"/>
                  </a:lnTo>
                  <a:lnTo>
                    <a:pt x="800" y="812"/>
                  </a:lnTo>
                  <a:lnTo>
                    <a:pt x="802" y="811"/>
                  </a:lnTo>
                  <a:lnTo>
                    <a:pt x="806" y="810"/>
                  </a:lnTo>
                  <a:lnTo>
                    <a:pt x="808" y="808"/>
                  </a:lnTo>
                  <a:lnTo>
                    <a:pt x="809" y="806"/>
                  </a:lnTo>
                  <a:lnTo>
                    <a:pt x="811" y="804"/>
                  </a:lnTo>
                  <a:lnTo>
                    <a:pt x="811" y="800"/>
                  </a:lnTo>
                  <a:lnTo>
                    <a:pt x="812" y="797"/>
                  </a:lnTo>
                  <a:lnTo>
                    <a:pt x="812" y="752"/>
                  </a:lnTo>
                  <a:lnTo>
                    <a:pt x="857" y="752"/>
                  </a:lnTo>
                  <a:lnTo>
                    <a:pt x="866" y="751"/>
                  </a:lnTo>
                  <a:lnTo>
                    <a:pt x="874" y="749"/>
                  </a:lnTo>
                  <a:lnTo>
                    <a:pt x="882" y="745"/>
                  </a:lnTo>
                  <a:lnTo>
                    <a:pt x="889" y="739"/>
                  </a:lnTo>
                  <a:lnTo>
                    <a:pt x="895" y="733"/>
                  </a:lnTo>
                  <a:lnTo>
                    <a:pt x="899" y="724"/>
                  </a:lnTo>
                  <a:lnTo>
                    <a:pt x="901" y="717"/>
                  </a:lnTo>
                  <a:lnTo>
                    <a:pt x="902" y="707"/>
                  </a:lnTo>
                  <a:lnTo>
                    <a:pt x="902" y="46"/>
                  </a:lnTo>
                  <a:lnTo>
                    <a:pt x="901" y="37"/>
                  </a:lnTo>
                  <a:lnTo>
                    <a:pt x="899" y="28"/>
                  </a:lnTo>
                  <a:lnTo>
                    <a:pt x="895" y="21"/>
                  </a:lnTo>
                  <a:lnTo>
                    <a:pt x="889" y="14"/>
                  </a:lnTo>
                  <a:lnTo>
                    <a:pt x="882" y="9"/>
                  </a:lnTo>
                  <a:lnTo>
                    <a:pt x="874" y="5"/>
                  </a:lnTo>
                  <a:lnTo>
                    <a:pt x="866" y="1"/>
                  </a:lnTo>
                  <a:lnTo>
                    <a:pt x="857" y="0"/>
                  </a:lnTo>
                  <a:lnTo>
                    <a:pt x="8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53">
              <a:extLst>
                <a:ext uri="{FF2B5EF4-FFF2-40B4-BE49-F238E27FC236}">
                  <a16:creationId xmlns:a16="http://schemas.microsoft.com/office/drawing/2014/main" id="{667E15F2-A897-4A0D-BA25-3F6FB0D87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0500" y="3128963"/>
              <a:ext cx="238125" cy="180975"/>
            </a:xfrm>
            <a:custGeom>
              <a:avLst/>
              <a:gdLst>
                <a:gd name="T0" fmla="*/ 721 w 752"/>
                <a:gd name="T1" fmla="*/ 532 h 571"/>
                <a:gd name="T2" fmla="*/ 716 w 752"/>
                <a:gd name="T3" fmla="*/ 539 h 571"/>
                <a:gd name="T4" fmla="*/ 707 w 752"/>
                <a:gd name="T5" fmla="*/ 541 h 571"/>
                <a:gd name="T6" fmla="*/ 70 w 752"/>
                <a:gd name="T7" fmla="*/ 540 h 571"/>
                <a:gd name="T8" fmla="*/ 63 w 752"/>
                <a:gd name="T9" fmla="*/ 535 h 571"/>
                <a:gd name="T10" fmla="*/ 60 w 752"/>
                <a:gd name="T11" fmla="*/ 526 h 571"/>
                <a:gd name="T12" fmla="*/ 78 w 752"/>
                <a:gd name="T13" fmla="*/ 450 h 571"/>
                <a:gd name="T14" fmla="*/ 86 w 752"/>
                <a:gd name="T15" fmla="*/ 447 h 571"/>
                <a:gd name="T16" fmla="*/ 90 w 752"/>
                <a:gd name="T17" fmla="*/ 440 h 571"/>
                <a:gd name="T18" fmla="*/ 90 w 752"/>
                <a:gd name="T19" fmla="*/ 373 h 571"/>
                <a:gd name="T20" fmla="*/ 86 w 752"/>
                <a:gd name="T21" fmla="*/ 366 h 571"/>
                <a:gd name="T22" fmla="*/ 78 w 752"/>
                <a:gd name="T23" fmla="*/ 361 h 571"/>
                <a:gd name="T24" fmla="*/ 60 w 752"/>
                <a:gd name="T25" fmla="*/ 210 h 571"/>
                <a:gd name="T26" fmla="*/ 81 w 752"/>
                <a:gd name="T27" fmla="*/ 209 h 571"/>
                <a:gd name="T28" fmla="*/ 88 w 752"/>
                <a:gd name="T29" fmla="*/ 204 h 571"/>
                <a:gd name="T30" fmla="*/ 90 w 752"/>
                <a:gd name="T31" fmla="*/ 195 h 571"/>
                <a:gd name="T32" fmla="*/ 89 w 752"/>
                <a:gd name="T33" fmla="*/ 130 h 571"/>
                <a:gd name="T34" fmla="*/ 84 w 752"/>
                <a:gd name="T35" fmla="*/ 122 h 571"/>
                <a:gd name="T36" fmla="*/ 75 w 752"/>
                <a:gd name="T37" fmla="*/ 120 h 571"/>
                <a:gd name="T38" fmla="*/ 60 w 752"/>
                <a:gd name="T39" fmla="*/ 42 h 571"/>
                <a:gd name="T40" fmla="*/ 64 w 752"/>
                <a:gd name="T41" fmla="*/ 35 h 571"/>
                <a:gd name="T42" fmla="*/ 72 w 752"/>
                <a:gd name="T43" fmla="*/ 30 h 571"/>
                <a:gd name="T44" fmla="*/ 710 w 752"/>
                <a:gd name="T45" fmla="*/ 30 h 571"/>
                <a:gd name="T46" fmla="*/ 718 w 752"/>
                <a:gd name="T47" fmla="*/ 35 h 571"/>
                <a:gd name="T48" fmla="*/ 721 w 752"/>
                <a:gd name="T49" fmla="*/ 42 h 571"/>
                <a:gd name="T50" fmla="*/ 30 w 752"/>
                <a:gd name="T51" fmla="*/ 391 h 571"/>
                <a:gd name="T52" fmla="*/ 30 w 752"/>
                <a:gd name="T53" fmla="*/ 421 h 571"/>
                <a:gd name="T54" fmla="*/ 60 w 752"/>
                <a:gd name="T55" fmla="*/ 150 h 571"/>
                <a:gd name="T56" fmla="*/ 30 w 752"/>
                <a:gd name="T57" fmla="*/ 150 h 571"/>
                <a:gd name="T58" fmla="*/ 66 w 752"/>
                <a:gd name="T59" fmla="*/ 0 h 571"/>
                <a:gd name="T60" fmla="*/ 43 w 752"/>
                <a:gd name="T61" fmla="*/ 13 h 571"/>
                <a:gd name="T62" fmla="*/ 31 w 752"/>
                <a:gd name="T63" fmla="*/ 36 h 571"/>
                <a:gd name="T64" fmla="*/ 15 w 752"/>
                <a:gd name="T65" fmla="*/ 120 h 571"/>
                <a:gd name="T66" fmla="*/ 6 w 752"/>
                <a:gd name="T67" fmla="*/ 122 h 571"/>
                <a:gd name="T68" fmla="*/ 1 w 752"/>
                <a:gd name="T69" fmla="*/ 130 h 571"/>
                <a:gd name="T70" fmla="*/ 0 w 752"/>
                <a:gd name="T71" fmla="*/ 195 h 571"/>
                <a:gd name="T72" fmla="*/ 2 w 752"/>
                <a:gd name="T73" fmla="*/ 204 h 571"/>
                <a:gd name="T74" fmla="*/ 10 w 752"/>
                <a:gd name="T75" fmla="*/ 209 h 571"/>
                <a:gd name="T76" fmla="*/ 30 w 752"/>
                <a:gd name="T77" fmla="*/ 210 h 571"/>
                <a:gd name="T78" fmla="*/ 12 w 752"/>
                <a:gd name="T79" fmla="*/ 361 h 571"/>
                <a:gd name="T80" fmla="*/ 4 w 752"/>
                <a:gd name="T81" fmla="*/ 366 h 571"/>
                <a:gd name="T82" fmla="*/ 0 w 752"/>
                <a:gd name="T83" fmla="*/ 373 h 571"/>
                <a:gd name="T84" fmla="*/ 0 w 752"/>
                <a:gd name="T85" fmla="*/ 438 h 571"/>
                <a:gd name="T86" fmla="*/ 4 w 752"/>
                <a:gd name="T87" fmla="*/ 447 h 571"/>
                <a:gd name="T88" fmla="*/ 12 w 752"/>
                <a:gd name="T89" fmla="*/ 450 h 571"/>
                <a:gd name="T90" fmla="*/ 30 w 752"/>
                <a:gd name="T91" fmla="*/ 526 h 571"/>
                <a:gd name="T92" fmla="*/ 37 w 752"/>
                <a:gd name="T93" fmla="*/ 551 h 571"/>
                <a:gd name="T94" fmla="*/ 58 w 752"/>
                <a:gd name="T95" fmla="*/ 568 h 571"/>
                <a:gd name="T96" fmla="*/ 707 w 752"/>
                <a:gd name="T97" fmla="*/ 571 h 571"/>
                <a:gd name="T98" fmla="*/ 732 w 752"/>
                <a:gd name="T99" fmla="*/ 564 h 571"/>
                <a:gd name="T100" fmla="*/ 748 w 752"/>
                <a:gd name="T101" fmla="*/ 543 h 571"/>
                <a:gd name="T102" fmla="*/ 752 w 752"/>
                <a:gd name="T103" fmla="*/ 45 h 571"/>
                <a:gd name="T104" fmla="*/ 745 w 752"/>
                <a:gd name="T105" fmla="*/ 20 h 571"/>
                <a:gd name="T106" fmla="*/ 724 w 752"/>
                <a:gd name="T107" fmla="*/ 4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52" h="571">
                  <a:moveTo>
                    <a:pt x="722" y="526"/>
                  </a:moveTo>
                  <a:lnTo>
                    <a:pt x="721" y="529"/>
                  </a:lnTo>
                  <a:lnTo>
                    <a:pt x="721" y="532"/>
                  </a:lnTo>
                  <a:lnTo>
                    <a:pt x="719" y="535"/>
                  </a:lnTo>
                  <a:lnTo>
                    <a:pt x="718" y="537"/>
                  </a:lnTo>
                  <a:lnTo>
                    <a:pt x="716" y="539"/>
                  </a:lnTo>
                  <a:lnTo>
                    <a:pt x="712" y="540"/>
                  </a:lnTo>
                  <a:lnTo>
                    <a:pt x="709" y="541"/>
                  </a:lnTo>
                  <a:lnTo>
                    <a:pt x="707" y="541"/>
                  </a:lnTo>
                  <a:lnTo>
                    <a:pt x="75" y="541"/>
                  </a:lnTo>
                  <a:lnTo>
                    <a:pt x="72" y="541"/>
                  </a:lnTo>
                  <a:lnTo>
                    <a:pt x="70" y="540"/>
                  </a:lnTo>
                  <a:lnTo>
                    <a:pt x="66" y="539"/>
                  </a:lnTo>
                  <a:lnTo>
                    <a:pt x="64" y="537"/>
                  </a:lnTo>
                  <a:lnTo>
                    <a:pt x="63" y="535"/>
                  </a:lnTo>
                  <a:lnTo>
                    <a:pt x="61" y="532"/>
                  </a:lnTo>
                  <a:lnTo>
                    <a:pt x="60" y="529"/>
                  </a:lnTo>
                  <a:lnTo>
                    <a:pt x="60" y="526"/>
                  </a:lnTo>
                  <a:lnTo>
                    <a:pt x="60" y="451"/>
                  </a:lnTo>
                  <a:lnTo>
                    <a:pt x="75" y="451"/>
                  </a:lnTo>
                  <a:lnTo>
                    <a:pt x="78" y="450"/>
                  </a:lnTo>
                  <a:lnTo>
                    <a:pt x="81" y="450"/>
                  </a:lnTo>
                  <a:lnTo>
                    <a:pt x="84" y="448"/>
                  </a:lnTo>
                  <a:lnTo>
                    <a:pt x="86" y="447"/>
                  </a:lnTo>
                  <a:lnTo>
                    <a:pt x="88" y="445"/>
                  </a:lnTo>
                  <a:lnTo>
                    <a:pt x="89" y="442"/>
                  </a:lnTo>
                  <a:lnTo>
                    <a:pt x="90" y="440"/>
                  </a:lnTo>
                  <a:lnTo>
                    <a:pt x="90" y="436"/>
                  </a:lnTo>
                  <a:lnTo>
                    <a:pt x="90" y="376"/>
                  </a:lnTo>
                  <a:lnTo>
                    <a:pt x="90" y="373"/>
                  </a:lnTo>
                  <a:lnTo>
                    <a:pt x="89" y="370"/>
                  </a:lnTo>
                  <a:lnTo>
                    <a:pt x="88" y="368"/>
                  </a:lnTo>
                  <a:lnTo>
                    <a:pt x="86" y="366"/>
                  </a:lnTo>
                  <a:lnTo>
                    <a:pt x="84" y="363"/>
                  </a:lnTo>
                  <a:lnTo>
                    <a:pt x="81" y="362"/>
                  </a:lnTo>
                  <a:lnTo>
                    <a:pt x="78" y="361"/>
                  </a:lnTo>
                  <a:lnTo>
                    <a:pt x="75" y="361"/>
                  </a:lnTo>
                  <a:lnTo>
                    <a:pt x="60" y="361"/>
                  </a:lnTo>
                  <a:lnTo>
                    <a:pt x="60" y="210"/>
                  </a:lnTo>
                  <a:lnTo>
                    <a:pt x="75" y="210"/>
                  </a:lnTo>
                  <a:lnTo>
                    <a:pt x="78" y="210"/>
                  </a:lnTo>
                  <a:lnTo>
                    <a:pt x="81" y="209"/>
                  </a:lnTo>
                  <a:lnTo>
                    <a:pt x="84" y="208"/>
                  </a:lnTo>
                  <a:lnTo>
                    <a:pt x="86" y="206"/>
                  </a:lnTo>
                  <a:lnTo>
                    <a:pt x="88" y="204"/>
                  </a:lnTo>
                  <a:lnTo>
                    <a:pt x="89" y="202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90" y="135"/>
                  </a:lnTo>
                  <a:lnTo>
                    <a:pt x="90" y="132"/>
                  </a:lnTo>
                  <a:lnTo>
                    <a:pt x="89" y="130"/>
                  </a:lnTo>
                  <a:lnTo>
                    <a:pt x="88" y="127"/>
                  </a:lnTo>
                  <a:lnTo>
                    <a:pt x="86" y="125"/>
                  </a:lnTo>
                  <a:lnTo>
                    <a:pt x="84" y="122"/>
                  </a:lnTo>
                  <a:lnTo>
                    <a:pt x="81" y="121"/>
                  </a:lnTo>
                  <a:lnTo>
                    <a:pt x="78" y="120"/>
                  </a:lnTo>
                  <a:lnTo>
                    <a:pt x="75" y="120"/>
                  </a:lnTo>
                  <a:lnTo>
                    <a:pt x="60" y="120"/>
                  </a:lnTo>
                  <a:lnTo>
                    <a:pt x="60" y="45"/>
                  </a:lnTo>
                  <a:lnTo>
                    <a:pt x="60" y="42"/>
                  </a:lnTo>
                  <a:lnTo>
                    <a:pt x="61" y="39"/>
                  </a:lnTo>
                  <a:lnTo>
                    <a:pt x="63" y="37"/>
                  </a:lnTo>
                  <a:lnTo>
                    <a:pt x="64" y="35"/>
                  </a:lnTo>
                  <a:lnTo>
                    <a:pt x="66" y="32"/>
                  </a:lnTo>
                  <a:lnTo>
                    <a:pt x="70" y="31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07" y="30"/>
                  </a:lnTo>
                  <a:lnTo>
                    <a:pt x="710" y="30"/>
                  </a:lnTo>
                  <a:lnTo>
                    <a:pt x="712" y="31"/>
                  </a:lnTo>
                  <a:lnTo>
                    <a:pt x="716" y="32"/>
                  </a:lnTo>
                  <a:lnTo>
                    <a:pt x="718" y="35"/>
                  </a:lnTo>
                  <a:lnTo>
                    <a:pt x="719" y="37"/>
                  </a:lnTo>
                  <a:lnTo>
                    <a:pt x="721" y="39"/>
                  </a:lnTo>
                  <a:lnTo>
                    <a:pt x="721" y="42"/>
                  </a:lnTo>
                  <a:lnTo>
                    <a:pt x="722" y="45"/>
                  </a:lnTo>
                  <a:lnTo>
                    <a:pt x="722" y="526"/>
                  </a:lnTo>
                  <a:close/>
                  <a:moveTo>
                    <a:pt x="30" y="391"/>
                  </a:moveTo>
                  <a:lnTo>
                    <a:pt x="60" y="391"/>
                  </a:lnTo>
                  <a:lnTo>
                    <a:pt x="60" y="421"/>
                  </a:lnTo>
                  <a:lnTo>
                    <a:pt x="30" y="421"/>
                  </a:lnTo>
                  <a:lnTo>
                    <a:pt x="30" y="391"/>
                  </a:lnTo>
                  <a:close/>
                  <a:moveTo>
                    <a:pt x="30" y="150"/>
                  </a:moveTo>
                  <a:lnTo>
                    <a:pt x="60" y="150"/>
                  </a:lnTo>
                  <a:lnTo>
                    <a:pt x="60" y="180"/>
                  </a:lnTo>
                  <a:lnTo>
                    <a:pt x="30" y="180"/>
                  </a:lnTo>
                  <a:lnTo>
                    <a:pt x="30" y="150"/>
                  </a:lnTo>
                  <a:close/>
                  <a:moveTo>
                    <a:pt x="707" y="0"/>
                  </a:moveTo>
                  <a:lnTo>
                    <a:pt x="75" y="0"/>
                  </a:lnTo>
                  <a:lnTo>
                    <a:pt x="66" y="0"/>
                  </a:lnTo>
                  <a:lnTo>
                    <a:pt x="58" y="4"/>
                  </a:lnTo>
                  <a:lnTo>
                    <a:pt x="50" y="8"/>
                  </a:lnTo>
                  <a:lnTo>
                    <a:pt x="43" y="13"/>
                  </a:lnTo>
                  <a:lnTo>
                    <a:pt x="37" y="20"/>
                  </a:lnTo>
                  <a:lnTo>
                    <a:pt x="33" y="27"/>
                  </a:lnTo>
                  <a:lnTo>
                    <a:pt x="31" y="36"/>
                  </a:lnTo>
                  <a:lnTo>
                    <a:pt x="30" y="45"/>
                  </a:lnTo>
                  <a:lnTo>
                    <a:pt x="3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10" y="121"/>
                  </a:lnTo>
                  <a:lnTo>
                    <a:pt x="6" y="122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195"/>
                  </a:lnTo>
                  <a:lnTo>
                    <a:pt x="0" y="198"/>
                  </a:lnTo>
                  <a:lnTo>
                    <a:pt x="1" y="202"/>
                  </a:lnTo>
                  <a:lnTo>
                    <a:pt x="2" y="204"/>
                  </a:lnTo>
                  <a:lnTo>
                    <a:pt x="4" y="206"/>
                  </a:lnTo>
                  <a:lnTo>
                    <a:pt x="6" y="208"/>
                  </a:lnTo>
                  <a:lnTo>
                    <a:pt x="10" y="209"/>
                  </a:lnTo>
                  <a:lnTo>
                    <a:pt x="12" y="210"/>
                  </a:lnTo>
                  <a:lnTo>
                    <a:pt x="15" y="210"/>
                  </a:lnTo>
                  <a:lnTo>
                    <a:pt x="30" y="210"/>
                  </a:lnTo>
                  <a:lnTo>
                    <a:pt x="30" y="361"/>
                  </a:lnTo>
                  <a:lnTo>
                    <a:pt x="15" y="361"/>
                  </a:lnTo>
                  <a:lnTo>
                    <a:pt x="12" y="361"/>
                  </a:lnTo>
                  <a:lnTo>
                    <a:pt x="10" y="362"/>
                  </a:lnTo>
                  <a:lnTo>
                    <a:pt x="6" y="363"/>
                  </a:lnTo>
                  <a:lnTo>
                    <a:pt x="4" y="366"/>
                  </a:lnTo>
                  <a:lnTo>
                    <a:pt x="2" y="368"/>
                  </a:lnTo>
                  <a:lnTo>
                    <a:pt x="1" y="370"/>
                  </a:lnTo>
                  <a:lnTo>
                    <a:pt x="0" y="373"/>
                  </a:lnTo>
                  <a:lnTo>
                    <a:pt x="0" y="376"/>
                  </a:lnTo>
                  <a:lnTo>
                    <a:pt x="0" y="436"/>
                  </a:lnTo>
                  <a:lnTo>
                    <a:pt x="0" y="438"/>
                  </a:lnTo>
                  <a:lnTo>
                    <a:pt x="1" y="442"/>
                  </a:lnTo>
                  <a:lnTo>
                    <a:pt x="2" y="444"/>
                  </a:lnTo>
                  <a:lnTo>
                    <a:pt x="4" y="447"/>
                  </a:lnTo>
                  <a:lnTo>
                    <a:pt x="6" y="448"/>
                  </a:lnTo>
                  <a:lnTo>
                    <a:pt x="10" y="450"/>
                  </a:lnTo>
                  <a:lnTo>
                    <a:pt x="12" y="450"/>
                  </a:lnTo>
                  <a:lnTo>
                    <a:pt x="15" y="451"/>
                  </a:lnTo>
                  <a:lnTo>
                    <a:pt x="30" y="451"/>
                  </a:lnTo>
                  <a:lnTo>
                    <a:pt x="30" y="526"/>
                  </a:lnTo>
                  <a:lnTo>
                    <a:pt x="31" y="535"/>
                  </a:lnTo>
                  <a:lnTo>
                    <a:pt x="33" y="543"/>
                  </a:lnTo>
                  <a:lnTo>
                    <a:pt x="37" y="551"/>
                  </a:lnTo>
                  <a:lnTo>
                    <a:pt x="43" y="558"/>
                  </a:lnTo>
                  <a:lnTo>
                    <a:pt x="50" y="564"/>
                  </a:lnTo>
                  <a:lnTo>
                    <a:pt x="58" y="568"/>
                  </a:lnTo>
                  <a:lnTo>
                    <a:pt x="66" y="570"/>
                  </a:lnTo>
                  <a:lnTo>
                    <a:pt x="75" y="571"/>
                  </a:lnTo>
                  <a:lnTo>
                    <a:pt x="707" y="571"/>
                  </a:lnTo>
                  <a:lnTo>
                    <a:pt x="716" y="570"/>
                  </a:lnTo>
                  <a:lnTo>
                    <a:pt x="724" y="568"/>
                  </a:lnTo>
                  <a:lnTo>
                    <a:pt x="732" y="564"/>
                  </a:lnTo>
                  <a:lnTo>
                    <a:pt x="738" y="558"/>
                  </a:lnTo>
                  <a:lnTo>
                    <a:pt x="745" y="551"/>
                  </a:lnTo>
                  <a:lnTo>
                    <a:pt x="748" y="543"/>
                  </a:lnTo>
                  <a:lnTo>
                    <a:pt x="751" y="535"/>
                  </a:lnTo>
                  <a:lnTo>
                    <a:pt x="752" y="526"/>
                  </a:lnTo>
                  <a:lnTo>
                    <a:pt x="752" y="45"/>
                  </a:lnTo>
                  <a:lnTo>
                    <a:pt x="751" y="36"/>
                  </a:lnTo>
                  <a:lnTo>
                    <a:pt x="748" y="27"/>
                  </a:lnTo>
                  <a:lnTo>
                    <a:pt x="745" y="20"/>
                  </a:lnTo>
                  <a:lnTo>
                    <a:pt x="738" y="13"/>
                  </a:lnTo>
                  <a:lnTo>
                    <a:pt x="732" y="8"/>
                  </a:lnTo>
                  <a:lnTo>
                    <a:pt x="724" y="4"/>
                  </a:lnTo>
                  <a:lnTo>
                    <a:pt x="716" y="1"/>
                  </a:lnTo>
                  <a:lnTo>
                    <a:pt x="7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54">
              <a:extLst>
                <a:ext uri="{FF2B5EF4-FFF2-40B4-BE49-F238E27FC236}">
                  <a16:creationId xmlns:a16="http://schemas.microsoft.com/office/drawing/2014/main" id="{287878F3-1EBF-466B-92D8-8653CF9D1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53850" y="3148013"/>
              <a:ext cx="76200" cy="76200"/>
            </a:xfrm>
            <a:custGeom>
              <a:avLst/>
              <a:gdLst>
                <a:gd name="T0" fmla="*/ 102 w 241"/>
                <a:gd name="T1" fmla="*/ 209 h 240"/>
                <a:gd name="T2" fmla="*/ 77 w 241"/>
                <a:gd name="T3" fmla="*/ 200 h 240"/>
                <a:gd name="T4" fmla="*/ 57 w 241"/>
                <a:gd name="T5" fmla="*/ 185 h 240"/>
                <a:gd name="T6" fmla="*/ 41 w 241"/>
                <a:gd name="T7" fmla="*/ 163 h 240"/>
                <a:gd name="T8" fmla="*/ 32 w 241"/>
                <a:gd name="T9" fmla="*/ 138 h 240"/>
                <a:gd name="T10" fmla="*/ 31 w 241"/>
                <a:gd name="T11" fmla="*/ 112 h 240"/>
                <a:gd name="T12" fmla="*/ 37 w 241"/>
                <a:gd name="T13" fmla="*/ 85 h 240"/>
                <a:gd name="T14" fmla="*/ 50 w 241"/>
                <a:gd name="T15" fmla="*/ 64 h 240"/>
                <a:gd name="T16" fmla="*/ 70 w 241"/>
                <a:gd name="T17" fmla="*/ 45 h 240"/>
                <a:gd name="T18" fmla="*/ 93 w 241"/>
                <a:gd name="T19" fmla="*/ 35 h 240"/>
                <a:gd name="T20" fmla="*/ 120 w 241"/>
                <a:gd name="T21" fmla="*/ 30 h 240"/>
                <a:gd name="T22" fmla="*/ 147 w 241"/>
                <a:gd name="T23" fmla="*/ 35 h 240"/>
                <a:gd name="T24" fmla="*/ 170 w 241"/>
                <a:gd name="T25" fmla="*/ 45 h 240"/>
                <a:gd name="T26" fmla="*/ 190 w 241"/>
                <a:gd name="T27" fmla="*/ 64 h 240"/>
                <a:gd name="T28" fmla="*/ 204 w 241"/>
                <a:gd name="T29" fmla="*/ 85 h 240"/>
                <a:gd name="T30" fmla="*/ 210 w 241"/>
                <a:gd name="T31" fmla="*/ 112 h 240"/>
                <a:gd name="T32" fmla="*/ 209 w 241"/>
                <a:gd name="T33" fmla="*/ 138 h 240"/>
                <a:gd name="T34" fmla="*/ 199 w 241"/>
                <a:gd name="T35" fmla="*/ 163 h 240"/>
                <a:gd name="T36" fmla="*/ 184 w 241"/>
                <a:gd name="T37" fmla="*/ 185 h 240"/>
                <a:gd name="T38" fmla="*/ 163 w 241"/>
                <a:gd name="T39" fmla="*/ 200 h 240"/>
                <a:gd name="T40" fmla="*/ 138 w 241"/>
                <a:gd name="T41" fmla="*/ 209 h 240"/>
                <a:gd name="T42" fmla="*/ 120 w 241"/>
                <a:gd name="T43" fmla="*/ 0 h 240"/>
                <a:gd name="T44" fmla="*/ 85 w 241"/>
                <a:gd name="T45" fmla="*/ 6 h 240"/>
                <a:gd name="T46" fmla="*/ 54 w 241"/>
                <a:gd name="T47" fmla="*/ 21 h 240"/>
                <a:gd name="T48" fmla="*/ 28 w 241"/>
                <a:gd name="T49" fmla="*/ 44 h 240"/>
                <a:gd name="T50" fmla="*/ 10 w 241"/>
                <a:gd name="T51" fmla="*/ 73 h 240"/>
                <a:gd name="T52" fmla="*/ 1 w 241"/>
                <a:gd name="T53" fmla="*/ 108 h 240"/>
                <a:gd name="T54" fmla="*/ 2 w 241"/>
                <a:gd name="T55" fmla="*/ 145 h 240"/>
                <a:gd name="T56" fmla="*/ 15 w 241"/>
                <a:gd name="T57" fmla="*/ 178 h 240"/>
                <a:gd name="T58" fmla="*/ 35 w 241"/>
                <a:gd name="T59" fmla="*/ 205 h 240"/>
                <a:gd name="T60" fmla="*/ 63 w 241"/>
                <a:gd name="T61" fmla="*/ 226 h 240"/>
                <a:gd name="T62" fmla="*/ 96 w 241"/>
                <a:gd name="T63" fmla="*/ 238 h 240"/>
                <a:gd name="T64" fmla="*/ 133 w 241"/>
                <a:gd name="T65" fmla="*/ 240 h 240"/>
                <a:gd name="T66" fmla="*/ 167 w 241"/>
                <a:gd name="T67" fmla="*/ 232 h 240"/>
                <a:gd name="T68" fmla="*/ 197 w 241"/>
                <a:gd name="T69" fmla="*/ 213 h 240"/>
                <a:gd name="T70" fmla="*/ 220 w 241"/>
                <a:gd name="T71" fmla="*/ 188 h 240"/>
                <a:gd name="T72" fmla="*/ 236 w 241"/>
                <a:gd name="T73" fmla="*/ 156 h 240"/>
                <a:gd name="T74" fmla="*/ 241 w 241"/>
                <a:gd name="T75" fmla="*/ 120 h 240"/>
                <a:gd name="T76" fmla="*/ 236 w 241"/>
                <a:gd name="T77" fmla="*/ 85 h 240"/>
                <a:gd name="T78" fmla="*/ 220 w 241"/>
                <a:gd name="T79" fmla="*/ 53 h 240"/>
                <a:gd name="T80" fmla="*/ 197 w 241"/>
                <a:gd name="T81" fmla="*/ 27 h 240"/>
                <a:gd name="T82" fmla="*/ 167 w 241"/>
                <a:gd name="T83" fmla="*/ 10 h 240"/>
                <a:gd name="T84" fmla="*/ 133 w 241"/>
                <a:gd name="T85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1" h="240">
                  <a:moveTo>
                    <a:pt x="120" y="210"/>
                  </a:moveTo>
                  <a:lnTo>
                    <a:pt x="111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6" y="204"/>
                  </a:lnTo>
                  <a:lnTo>
                    <a:pt x="77" y="200"/>
                  </a:lnTo>
                  <a:lnTo>
                    <a:pt x="70" y="195"/>
                  </a:lnTo>
                  <a:lnTo>
                    <a:pt x="63" y="190"/>
                  </a:lnTo>
                  <a:lnTo>
                    <a:pt x="57" y="185"/>
                  </a:lnTo>
                  <a:lnTo>
                    <a:pt x="50" y="178"/>
                  </a:lnTo>
                  <a:lnTo>
                    <a:pt x="45" y="171"/>
                  </a:lnTo>
                  <a:lnTo>
                    <a:pt x="41" y="163"/>
                  </a:lnTo>
                  <a:lnTo>
                    <a:pt x="37" y="156"/>
                  </a:lnTo>
                  <a:lnTo>
                    <a:pt x="34" y="147"/>
                  </a:lnTo>
                  <a:lnTo>
                    <a:pt x="32" y="138"/>
                  </a:lnTo>
                  <a:lnTo>
                    <a:pt x="31" y="130"/>
                  </a:lnTo>
                  <a:lnTo>
                    <a:pt x="30" y="120"/>
                  </a:lnTo>
                  <a:lnTo>
                    <a:pt x="31" y="112"/>
                  </a:lnTo>
                  <a:lnTo>
                    <a:pt x="32" y="102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5" y="70"/>
                  </a:lnTo>
                  <a:lnTo>
                    <a:pt x="50" y="64"/>
                  </a:lnTo>
                  <a:lnTo>
                    <a:pt x="57" y="57"/>
                  </a:lnTo>
                  <a:lnTo>
                    <a:pt x="63" y="51"/>
                  </a:lnTo>
                  <a:lnTo>
                    <a:pt x="70" y="45"/>
                  </a:lnTo>
                  <a:lnTo>
                    <a:pt x="77" y="41"/>
                  </a:lnTo>
                  <a:lnTo>
                    <a:pt x="86" y="38"/>
                  </a:lnTo>
                  <a:lnTo>
                    <a:pt x="93" y="35"/>
                  </a:lnTo>
                  <a:lnTo>
                    <a:pt x="102" y="32"/>
                  </a:lnTo>
                  <a:lnTo>
                    <a:pt x="111" y="30"/>
                  </a:lnTo>
                  <a:lnTo>
                    <a:pt x="120" y="30"/>
                  </a:lnTo>
                  <a:lnTo>
                    <a:pt x="130" y="30"/>
                  </a:lnTo>
                  <a:lnTo>
                    <a:pt x="138" y="32"/>
                  </a:lnTo>
                  <a:lnTo>
                    <a:pt x="147" y="35"/>
                  </a:lnTo>
                  <a:lnTo>
                    <a:pt x="155" y="38"/>
                  </a:lnTo>
                  <a:lnTo>
                    <a:pt x="163" y="41"/>
                  </a:lnTo>
                  <a:lnTo>
                    <a:pt x="170" y="45"/>
                  </a:lnTo>
                  <a:lnTo>
                    <a:pt x="178" y="51"/>
                  </a:lnTo>
                  <a:lnTo>
                    <a:pt x="184" y="57"/>
                  </a:lnTo>
                  <a:lnTo>
                    <a:pt x="190" y="64"/>
                  </a:lnTo>
                  <a:lnTo>
                    <a:pt x="195" y="70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2"/>
                  </a:lnTo>
                  <a:lnTo>
                    <a:pt x="210" y="112"/>
                  </a:lnTo>
                  <a:lnTo>
                    <a:pt x="211" y="120"/>
                  </a:lnTo>
                  <a:lnTo>
                    <a:pt x="210" y="130"/>
                  </a:lnTo>
                  <a:lnTo>
                    <a:pt x="209" y="138"/>
                  </a:lnTo>
                  <a:lnTo>
                    <a:pt x="207" y="147"/>
                  </a:lnTo>
                  <a:lnTo>
                    <a:pt x="204" y="156"/>
                  </a:lnTo>
                  <a:lnTo>
                    <a:pt x="199" y="163"/>
                  </a:lnTo>
                  <a:lnTo>
                    <a:pt x="195" y="171"/>
                  </a:lnTo>
                  <a:lnTo>
                    <a:pt x="190" y="178"/>
                  </a:lnTo>
                  <a:lnTo>
                    <a:pt x="184" y="185"/>
                  </a:lnTo>
                  <a:lnTo>
                    <a:pt x="178" y="190"/>
                  </a:lnTo>
                  <a:lnTo>
                    <a:pt x="170" y="195"/>
                  </a:lnTo>
                  <a:lnTo>
                    <a:pt x="163" y="200"/>
                  </a:lnTo>
                  <a:lnTo>
                    <a:pt x="155" y="204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30" y="210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0"/>
                  </a:lnTo>
                  <a:lnTo>
                    <a:pt x="96" y="2"/>
                  </a:lnTo>
                  <a:lnTo>
                    <a:pt x="85" y="6"/>
                  </a:lnTo>
                  <a:lnTo>
                    <a:pt x="74" y="10"/>
                  </a:lnTo>
                  <a:lnTo>
                    <a:pt x="63" y="14"/>
                  </a:lnTo>
                  <a:lnTo>
                    <a:pt x="54" y="21"/>
                  </a:lnTo>
                  <a:lnTo>
                    <a:pt x="44" y="27"/>
                  </a:lnTo>
                  <a:lnTo>
                    <a:pt x="35" y="36"/>
                  </a:lnTo>
                  <a:lnTo>
                    <a:pt x="28" y="44"/>
                  </a:lnTo>
                  <a:lnTo>
                    <a:pt x="20" y="53"/>
                  </a:lnTo>
                  <a:lnTo>
                    <a:pt x="15" y="64"/>
                  </a:lnTo>
                  <a:lnTo>
                    <a:pt x="10" y="73"/>
                  </a:lnTo>
                  <a:lnTo>
                    <a:pt x="5" y="85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8"/>
                  </a:lnTo>
                  <a:lnTo>
                    <a:pt x="20" y="188"/>
                  </a:lnTo>
                  <a:lnTo>
                    <a:pt x="28" y="196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20"/>
                  </a:lnTo>
                  <a:lnTo>
                    <a:pt x="63" y="226"/>
                  </a:lnTo>
                  <a:lnTo>
                    <a:pt x="74" y="232"/>
                  </a:lnTo>
                  <a:lnTo>
                    <a:pt x="85" y="235"/>
                  </a:lnTo>
                  <a:lnTo>
                    <a:pt x="96" y="238"/>
                  </a:lnTo>
                  <a:lnTo>
                    <a:pt x="108" y="240"/>
                  </a:lnTo>
                  <a:lnTo>
                    <a:pt x="120" y="240"/>
                  </a:lnTo>
                  <a:lnTo>
                    <a:pt x="133" y="240"/>
                  </a:lnTo>
                  <a:lnTo>
                    <a:pt x="145" y="238"/>
                  </a:lnTo>
                  <a:lnTo>
                    <a:pt x="156" y="235"/>
                  </a:lnTo>
                  <a:lnTo>
                    <a:pt x="167" y="232"/>
                  </a:lnTo>
                  <a:lnTo>
                    <a:pt x="178" y="226"/>
                  </a:lnTo>
                  <a:lnTo>
                    <a:pt x="187" y="220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6"/>
                  </a:lnTo>
                  <a:lnTo>
                    <a:pt x="220" y="188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5"/>
                  </a:lnTo>
                  <a:lnTo>
                    <a:pt x="240" y="133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5"/>
                  </a:lnTo>
                  <a:lnTo>
                    <a:pt x="231" y="73"/>
                  </a:lnTo>
                  <a:lnTo>
                    <a:pt x="226" y="64"/>
                  </a:lnTo>
                  <a:lnTo>
                    <a:pt x="220" y="53"/>
                  </a:lnTo>
                  <a:lnTo>
                    <a:pt x="213" y="44"/>
                  </a:lnTo>
                  <a:lnTo>
                    <a:pt x="206" y="36"/>
                  </a:lnTo>
                  <a:lnTo>
                    <a:pt x="197" y="27"/>
                  </a:lnTo>
                  <a:lnTo>
                    <a:pt x="187" y="21"/>
                  </a:lnTo>
                  <a:lnTo>
                    <a:pt x="178" y="14"/>
                  </a:lnTo>
                  <a:lnTo>
                    <a:pt x="167" y="10"/>
                  </a:lnTo>
                  <a:lnTo>
                    <a:pt x="156" y="6"/>
                  </a:lnTo>
                  <a:lnTo>
                    <a:pt x="145" y="2"/>
                  </a:lnTo>
                  <a:lnTo>
                    <a:pt x="133" y="0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55">
              <a:extLst>
                <a:ext uri="{FF2B5EF4-FFF2-40B4-BE49-F238E27FC236}">
                  <a16:creationId xmlns:a16="http://schemas.microsoft.com/office/drawing/2014/main" id="{8BCE2C31-2A77-4F5B-87E8-337CF551B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82425" y="3176588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25 w 60"/>
                <a:gd name="T3" fmla="*/ 1 h 60"/>
                <a:gd name="T4" fmla="*/ 18 w 60"/>
                <a:gd name="T5" fmla="*/ 2 h 60"/>
                <a:gd name="T6" fmla="*/ 14 w 60"/>
                <a:gd name="T7" fmla="*/ 6 h 60"/>
                <a:gd name="T8" fmla="*/ 9 w 60"/>
                <a:gd name="T9" fmla="*/ 9 h 60"/>
                <a:gd name="T10" fmla="*/ 5 w 60"/>
                <a:gd name="T11" fmla="*/ 13 h 60"/>
                <a:gd name="T12" fmla="*/ 2 w 60"/>
                <a:gd name="T13" fmla="*/ 18 h 60"/>
                <a:gd name="T14" fmla="*/ 1 w 60"/>
                <a:gd name="T15" fmla="*/ 24 h 60"/>
                <a:gd name="T16" fmla="*/ 0 w 60"/>
                <a:gd name="T17" fmla="*/ 30 h 60"/>
                <a:gd name="T18" fmla="*/ 1 w 60"/>
                <a:gd name="T19" fmla="*/ 37 h 60"/>
                <a:gd name="T20" fmla="*/ 2 w 60"/>
                <a:gd name="T21" fmla="*/ 42 h 60"/>
                <a:gd name="T22" fmla="*/ 5 w 60"/>
                <a:gd name="T23" fmla="*/ 47 h 60"/>
                <a:gd name="T24" fmla="*/ 9 w 60"/>
                <a:gd name="T25" fmla="*/ 52 h 60"/>
                <a:gd name="T26" fmla="*/ 14 w 60"/>
                <a:gd name="T27" fmla="*/ 55 h 60"/>
                <a:gd name="T28" fmla="*/ 18 w 60"/>
                <a:gd name="T29" fmla="*/ 58 h 60"/>
                <a:gd name="T30" fmla="*/ 25 w 60"/>
                <a:gd name="T31" fmla="*/ 60 h 60"/>
                <a:gd name="T32" fmla="*/ 30 w 60"/>
                <a:gd name="T33" fmla="*/ 60 h 60"/>
                <a:gd name="T34" fmla="*/ 36 w 60"/>
                <a:gd name="T35" fmla="*/ 60 h 60"/>
                <a:gd name="T36" fmla="*/ 42 w 60"/>
                <a:gd name="T37" fmla="*/ 58 h 60"/>
                <a:gd name="T38" fmla="*/ 47 w 60"/>
                <a:gd name="T39" fmla="*/ 55 h 60"/>
                <a:gd name="T40" fmla="*/ 51 w 60"/>
                <a:gd name="T41" fmla="*/ 52 h 60"/>
                <a:gd name="T42" fmla="*/ 56 w 60"/>
                <a:gd name="T43" fmla="*/ 47 h 60"/>
                <a:gd name="T44" fmla="*/ 58 w 60"/>
                <a:gd name="T45" fmla="*/ 42 h 60"/>
                <a:gd name="T46" fmla="*/ 60 w 60"/>
                <a:gd name="T47" fmla="*/ 37 h 60"/>
                <a:gd name="T48" fmla="*/ 60 w 60"/>
                <a:gd name="T49" fmla="*/ 30 h 60"/>
                <a:gd name="T50" fmla="*/ 60 w 60"/>
                <a:gd name="T51" fmla="*/ 24 h 60"/>
                <a:gd name="T52" fmla="*/ 58 w 60"/>
                <a:gd name="T53" fmla="*/ 18 h 60"/>
                <a:gd name="T54" fmla="*/ 56 w 60"/>
                <a:gd name="T55" fmla="*/ 13 h 60"/>
                <a:gd name="T56" fmla="*/ 51 w 60"/>
                <a:gd name="T57" fmla="*/ 9 h 60"/>
                <a:gd name="T58" fmla="*/ 47 w 60"/>
                <a:gd name="T59" fmla="*/ 6 h 60"/>
                <a:gd name="T60" fmla="*/ 42 w 60"/>
                <a:gd name="T61" fmla="*/ 2 h 60"/>
                <a:gd name="T62" fmla="*/ 36 w 60"/>
                <a:gd name="T63" fmla="*/ 1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25" y="1"/>
                  </a:lnTo>
                  <a:lnTo>
                    <a:pt x="18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1" y="37"/>
                  </a:lnTo>
                  <a:lnTo>
                    <a:pt x="2" y="42"/>
                  </a:lnTo>
                  <a:lnTo>
                    <a:pt x="5" y="47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8" y="58"/>
                  </a:lnTo>
                  <a:lnTo>
                    <a:pt x="25" y="60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58"/>
                  </a:lnTo>
                  <a:lnTo>
                    <a:pt x="47" y="55"/>
                  </a:lnTo>
                  <a:lnTo>
                    <a:pt x="51" y="52"/>
                  </a:lnTo>
                  <a:lnTo>
                    <a:pt x="56" y="47"/>
                  </a:lnTo>
                  <a:lnTo>
                    <a:pt x="58" y="42"/>
                  </a:lnTo>
                  <a:lnTo>
                    <a:pt x="60" y="37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9"/>
                  </a:lnTo>
                  <a:lnTo>
                    <a:pt x="47" y="6"/>
                  </a:lnTo>
                  <a:lnTo>
                    <a:pt x="42" y="2"/>
                  </a:lnTo>
                  <a:lnTo>
                    <a:pt x="36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Rectangle 256">
              <a:extLst>
                <a:ext uri="{FF2B5EF4-FFF2-40B4-BE49-F238E27FC236}">
                  <a16:creationId xmlns:a16="http://schemas.microsoft.com/office/drawing/2014/main" id="{5D4B0D93-90E2-47DF-9E62-0B8AA1EB4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Rectangle 257">
              <a:extLst>
                <a:ext uri="{FF2B5EF4-FFF2-40B4-BE49-F238E27FC236}">
                  <a16:creationId xmlns:a16="http://schemas.microsoft.com/office/drawing/2014/main" id="{DD921542-44DE-45AD-B9BC-589FF447A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258">
              <a:extLst>
                <a:ext uri="{FF2B5EF4-FFF2-40B4-BE49-F238E27FC236}">
                  <a16:creationId xmlns:a16="http://schemas.microsoft.com/office/drawing/2014/main" id="{4A5057C4-6FEB-476C-8CAB-393DB92D1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259">
              <a:extLst>
                <a:ext uri="{FF2B5EF4-FFF2-40B4-BE49-F238E27FC236}">
                  <a16:creationId xmlns:a16="http://schemas.microsoft.com/office/drawing/2014/main" id="{DD7D972B-9D19-46BF-A7E3-44C169CA2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260">
              <a:extLst>
                <a:ext uri="{FF2B5EF4-FFF2-40B4-BE49-F238E27FC236}">
                  <a16:creationId xmlns:a16="http://schemas.microsoft.com/office/drawing/2014/main" id="{82E65740-EBAC-45F3-A613-EE4739F48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261">
              <a:extLst>
                <a:ext uri="{FF2B5EF4-FFF2-40B4-BE49-F238E27FC236}">
                  <a16:creationId xmlns:a16="http://schemas.microsoft.com/office/drawing/2014/main" id="{F1CFD423-5C26-4462-A136-E0AA387848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262">
              <a:extLst>
                <a:ext uri="{FF2B5EF4-FFF2-40B4-BE49-F238E27FC236}">
                  <a16:creationId xmlns:a16="http://schemas.microsoft.com/office/drawing/2014/main" id="{6F072582-A926-478C-9248-126B85D3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263">
              <a:extLst>
                <a:ext uri="{FF2B5EF4-FFF2-40B4-BE49-F238E27FC236}">
                  <a16:creationId xmlns:a16="http://schemas.microsoft.com/office/drawing/2014/main" id="{D2A614C7-D82B-4FEC-A829-8ACA31CC7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264">
              <a:extLst>
                <a:ext uri="{FF2B5EF4-FFF2-40B4-BE49-F238E27FC236}">
                  <a16:creationId xmlns:a16="http://schemas.microsoft.com/office/drawing/2014/main" id="{AD8F83AD-3BC5-4F1A-A1BE-D97AA0130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4" name="Freeform 329">
            <a:extLst>
              <a:ext uri="{FF2B5EF4-FFF2-40B4-BE49-F238E27FC236}">
                <a16:creationId xmlns:a16="http://schemas.microsoft.com/office/drawing/2014/main" id="{90D1B450-210E-4B04-BEAC-DFD829D70DAD}"/>
              </a:ext>
            </a:extLst>
          </p:cNvPr>
          <p:cNvSpPr>
            <a:spLocks noEditPoints="1"/>
          </p:cNvSpPr>
          <p:nvPr/>
        </p:nvSpPr>
        <p:spPr bwMode="auto">
          <a:xfrm>
            <a:off x="5913655" y="3522215"/>
            <a:ext cx="753044" cy="732008"/>
          </a:xfrm>
          <a:custGeom>
            <a:avLst/>
            <a:gdLst>
              <a:gd name="T0" fmla="*/ 867 w 896"/>
              <a:gd name="T1" fmla="*/ 271 h 869"/>
              <a:gd name="T2" fmla="*/ 598 w 896"/>
              <a:gd name="T3" fmla="*/ 421 h 869"/>
              <a:gd name="T4" fmla="*/ 298 w 896"/>
              <a:gd name="T5" fmla="*/ 421 h 869"/>
              <a:gd name="T6" fmla="*/ 30 w 896"/>
              <a:gd name="T7" fmla="*/ 271 h 869"/>
              <a:gd name="T8" fmla="*/ 30 w 896"/>
              <a:gd name="T9" fmla="*/ 271 h 869"/>
              <a:gd name="T10" fmla="*/ 262 w 896"/>
              <a:gd name="T11" fmla="*/ 39 h 869"/>
              <a:gd name="T12" fmla="*/ 292 w 896"/>
              <a:gd name="T13" fmla="*/ 30 h 869"/>
              <a:gd name="T14" fmla="*/ 323 w 896"/>
              <a:gd name="T15" fmla="*/ 33 h 869"/>
              <a:gd name="T16" fmla="*/ 350 w 896"/>
              <a:gd name="T17" fmla="*/ 47 h 869"/>
              <a:gd name="T18" fmla="*/ 370 w 896"/>
              <a:gd name="T19" fmla="*/ 74 h 869"/>
              <a:gd name="T20" fmla="*/ 403 w 896"/>
              <a:gd name="T21" fmla="*/ 159 h 869"/>
              <a:gd name="T22" fmla="*/ 402 w 896"/>
              <a:gd name="T23" fmla="*/ 228 h 869"/>
              <a:gd name="T24" fmla="*/ 296 w 896"/>
              <a:gd name="T25" fmla="*/ 194 h 869"/>
              <a:gd name="T26" fmla="*/ 249 w 896"/>
              <a:gd name="T27" fmla="*/ 170 h 869"/>
              <a:gd name="T28" fmla="*/ 230 w 896"/>
              <a:gd name="T29" fmla="*/ 146 h 869"/>
              <a:gd name="T30" fmla="*/ 221 w 896"/>
              <a:gd name="T31" fmla="*/ 117 h 869"/>
              <a:gd name="T32" fmla="*/ 224 w 896"/>
              <a:gd name="T33" fmla="*/ 87 h 869"/>
              <a:gd name="T34" fmla="*/ 239 w 896"/>
              <a:gd name="T35" fmla="*/ 59 h 869"/>
              <a:gd name="T36" fmla="*/ 543 w 896"/>
              <a:gd name="T37" fmla="*/ 47 h 869"/>
              <a:gd name="T38" fmla="*/ 570 w 896"/>
              <a:gd name="T39" fmla="*/ 33 h 869"/>
              <a:gd name="T40" fmla="*/ 601 w 896"/>
              <a:gd name="T41" fmla="*/ 30 h 869"/>
              <a:gd name="T42" fmla="*/ 631 w 896"/>
              <a:gd name="T43" fmla="*/ 39 h 869"/>
              <a:gd name="T44" fmla="*/ 654 w 896"/>
              <a:gd name="T45" fmla="*/ 59 h 869"/>
              <a:gd name="T46" fmla="*/ 669 w 896"/>
              <a:gd name="T47" fmla="*/ 87 h 869"/>
              <a:gd name="T48" fmla="*/ 672 w 896"/>
              <a:gd name="T49" fmla="*/ 117 h 869"/>
              <a:gd name="T50" fmla="*/ 663 w 896"/>
              <a:gd name="T51" fmla="*/ 146 h 869"/>
              <a:gd name="T52" fmla="*/ 644 w 896"/>
              <a:gd name="T53" fmla="*/ 169 h 869"/>
              <a:gd name="T54" fmla="*/ 597 w 896"/>
              <a:gd name="T55" fmla="*/ 194 h 869"/>
              <a:gd name="T56" fmla="*/ 491 w 896"/>
              <a:gd name="T57" fmla="*/ 228 h 869"/>
              <a:gd name="T58" fmla="*/ 490 w 896"/>
              <a:gd name="T59" fmla="*/ 159 h 869"/>
              <a:gd name="T60" fmla="*/ 523 w 896"/>
              <a:gd name="T61" fmla="*/ 74 h 869"/>
              <a:gd name="T62" fmla="*/ 537 w 896"/>
              <a:gd name="T63" fmla="*/ 53 h 869"/>
              <a:gd name="T64" fmla="*/ 328 w 896"/>
              <a:gd name="T65" fmla="*/ 421 h 869"/>
              <a:gd name="T66" fmla="*/ 568 w 896"/>
              <a:gd name="T67" fmla="*/ 271 h 869"/>
              <a:gd name="T68" fmla="*/ 554 w 896"/>
              <a:gd name="T69" fmla="*/ 241 h 869"/>
              <a:gd name="T70" fmla="*/ 650 w 896"/>
              <a:gd name="T71" fmla="*/ 201 h 869"/>
              <a:gd name="T72" fmla="*/ 684 w 896"/>
              <a:gd name="T73" fmla="*/ 169 h 869"/>
              <a:gd name="T74" fmla="*/ 700 w 896"/>
              <a:gd name="T75" fmla="*/ 130 h 869"/>
              <a:gd name="T76" fmla="*/ 700 w 896"/>
              <a:gd name="T77" fmla="*/ 88 h 869"/>
              <a:gd name="T78" fmla="*/ 684 w 896"/>
              <a:gd name="T79" fmla="*/ 50 h 869"/>
              <a:gd name="T80" fmla="*/ 653 w 896"/>
              <a:gd name="T81" fmla="*/ 18 h 869"/>
              <a:gd name="T82" fmla="*/ 615 w 896"/>
              <a:gd name="T83" fmla="*/ 2 h 869"/>
              <a:gd name="T84" fmla="*/ 572 w 896"/>
              <a:gd name="T85" fmla="*/ 2 h 869"/>
              <a:gd name="T86" fmla="*/ 533 w 896"/>
              <a:gd name="T87" fmla="*/ 18 h 869"/>
              <a:gd name="T88" fmla="*/ 506 w 896"/>
              <a:gd name="T89" fmla="*/ 44 h 869"/>
              <a:gd name="T90" fmla="*/ 477 w 896"/>
              <a:gd name="T91" fmla="*/ 103 h 869"/>
              <a:gd name="T92" fmla="*/ 447 w 896"/>
              <a:gd name="T93" fmla="*/ 198 h 869"/>
              <a:gd name="T94" fmla="*/ 416 w 896"/>
              <a:gd name="T95" fmla="*/ 103 h 869"/>
              <a:gd name="T96" fmla="*/ 387 w 896"/>
              <a:gd name="T97" fmla="*/ 44 h 869"/>
              <a:gd name="T98" fmla="*/ 360 w 896"/>
              <a:gd name="T99" fmla="*/ 18 h 869"/>
              <a:gd name="T100" fmla="*/ 321 w 896"/>
              <a:gd name="T101" fmla="*/ 2 h 869"/>
              <a:gd name="T102" fmla="*/ 278 w 896"/>
              <a:gd name="T103" fmla="*/ 2 h 869"/>
              <a:gd name="T104" fmla="*/ 240 w 896"/>
              <a:gd name="T105" fmla="*/ 18 h 869"/>
              <a:gd name="T106" fmla="*/ 209 w 896"/>
              <a:gd name="T107" fmla="*/ 50 h 869"/>
              <a:gd name="T108" fmla="*/ 193 w 896"/>
              <a:gd name="T109" fmla="*/ 88 h 869"/>
              <a:gd name="T110" fmla="*/ 193 w 896"/>
              <a:gd name="T111" fmla="*/ 130 h 869"/>
              <a:gd name="T112" fmla="*/ 209 w 896"/>
              <a:gd name="T113" fmla="*/ 169 h 869"/>
              <a:gd name="T114" fmla="*/ 243 w 896"/>
              <a:gd name="T115" fmla="*/ 201 h 869"/>
              <a:gd name="T116" fmla="*/ 339 w 896"/>
              <a:gd name="T117" fmla="*/ 241 h 869"/>
              <a:gd name="T118" fmla="*/ 30 w 896"/>
              <a:gd name="T119" fmla="*/ 869 h 869"/>
              <a:gd name="T120" fmla="*/ 896 w 896"/>
              <a:gd name="T121" fmla="*/ 241 h 8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6" h="869">
                <a:moveTo>
                  <a:pt x="867" y="391"/>
                </a:moveTo>
                <a:lnTo>
                  <a:pt x="598" y="391"/>
                </a:lnTo>
                <a:lnTo>
                  <a:pt x="598" y="271"/>
                </a:lnTo>
                <a:lnTo>
                  <a:pt x="867" y="271"/>
                </a:lnTo>
                <a:lnTo>
                  <a:pt x="867" y="391"/>
                </a:lnTo>
                <a:close/>
                <a:moveTo>
                  <a:pt x="837" y="839"/>
                </a:moveTo>
                <a:lnTo>
                  <a:pt x="598" y="839"/>
                </a:lnTo>
                <a:lnTo>
                  <a:pt x="598" y="421"/>
                </a:lnTo>
                <a:lnTo>
                  <a:pt x="837" y="421"/>
                </a:lnTo>
                <a:lnTo>
                  <a:pt x="837" y="839"/>
                </a:lnTo>
                <a:close/>
                <a:moveTo>
                  <a:pt x="60" y="421"/>
                </a:moveTo>
                <a:lnTo>
                  <a:pt x="298" y="421"/>
                </a:lnTo>
                <a:lnTo>
                  <a:pt x="298" y="839"/>
                </a:lnTo>
                <a:lnTo>
                  <a:pt x="60" y="839"/>
                </a:lnTo>
                <a:lnTo>
                  <a:pt x="60" y="421"/>
                </a:lnTo>
                <a:close/>
                <a:moveTo>
                  <a:pt x="30" y="271"/>
                </a:moveTo>
                <a:lnTo>
                  <a:pt x="298" y="271"/>
                </a:lnTo>
                <a:lnTo>
                  <a:pt x="298" y="391"/>
                </a:lnTo>
                <a:lnTo>
                  <a:pt x="30" y="391"/>
                </a:lnTo>
                <a:lnTo>
                  <a:pt x="30" y="271"/>
                </a:lnTo>
                <a:close/>
                <a:moveTo>
                  <a:pt x="244" y="53"/>
                </a:moveTo>
                <a:lnTo>
                  <a:pt x="249" y="47"/>
                </a:lnTo>
                <a:lnTo>
                  <a:pt x="256" y="43"/>
                </a:lnTo>
                <a:lnTo>
                  <a:pt x="262" y="39"/>
                </a:lnTo>
                <a:lnTo>
                  <a:pt x="270" y="36"/>
                </a:lnTo>
                <a:lnTo>
                  <a:pt x="277" y="33"/>
                </a:lnTo>
                <a:lnTo>
                  <a:pt x="284" y="31"/>
                </a:lnTo>
                <a:lnTo>
                  <a:pt x="292" y="30"/>
                </a:lnTo>
                <a:lnTo>
                  <a:pt x="299" y="30"/>
                </a:lnTo>
                <a:lnTo>
                  <a:pt x="308" y="30"/>
                </a:lnTo>
                <a:lnTo>
                  <a:pt x="316" y="31"/>
                </a:lnTo>
                <a:lnTo>
                  <a:pt x="323" y="33"/>
                </a:lnTo>
                <a:lnTo>
                  <a:pt x="330" y="36"/>
                </a:lnTo>
                <a:lnTo>
                  <a:pt x="337" y="39"/>
                </a:lnTo>
                <a:lnTo>
                  <a:pt x="344" y="43"/>
                </a:lnTo>
                <a:lnTo>
                  <a:pt x="350" y="47"/>
                </a:lnTo>
                <a:lnTo>
                  <a:pt x="356" y="53"/>
                </a:lnTo>
                <a:lnTo>
                  <a:pt x="360" y="58"/>
                </a:lnTo>
                <a:lnTo>
                  <a:pt x="365" y="66"/>
                </a:lnTo>
                <a:lnTo>
                  <a:pt x="370" y="74"/>
                </a:lnTo>
                <a:lnTo>
                  <a:pt x="374" y="84"/>
                </a:lnTo>
                <a:lnTo>
                  <a:pt x="384" y="106"/>
                </a:lnTo>
                <a:lnTo>
                  <a:pt x="394" y="131"/>
                </a:lnTo>
                <a:lnTo>
                  <a:pt x="403" y="159"/>
                </a:lnTo>
                <a:lnTo>
                  <a:pt x="412" y="185"/>
                </a:lnTo>
                <a:lnTo>
                  <a:pt x="419" y="212"/>
                </a:lnTo>
                <a:lnTo>
                  <a:pt x="426" y="236"/>
                </a:lnTo>
                <a:lnTo>
                  <a:pt x="402" y="228"/>
                </a:lnTo>
                <a:lnTo>
                  <a:pt x="376" y="221"/>
                </a:lnTo>
                <a:lnTo>
                  <a:pt x="349" y="212"/>
                </a:lnTo>
                <a:lnTo>
                  <a:pt x="322" y="204"/>
                </a:lnTo>
                <a:lnTo>
                  <a:pt x="296" y="194"/>
                </a:lnTo>
                <a:lnTo>
                  <a:pt x="274" y="184"/>
                </a:lnTo>
                <a:lnTo>
                  <a:pt x="264" y="179"/>
                </a:lnTo>
                <a:lnTo>
                  <a:pt x="256" y="175"/>
                </a:lnTo>
                <a:lnTo>
                  <a:pt x="249" y="170"/>
                </a:lnTo>
                <a:lnTo>
                  <a:pt x="244" y="165"/>
                </a:lnTo>
                <a:lnTo>
                  <a:pt x="239" y="160"/>
                </a:lnTo>
                <a:lnTo>
                  <a:pt x="233" y="153"/>
                </a:lnTo>
                <a:lnTo>
                  <a:pt x="230" y="146"/>
                </a:lnTo>
                <a:lnTo>
                  <a:pt x="227" y="139"/>
                </a:lnTo>
                <a:lnTo>
                  <a:pt x="224" y="132"/>
                </a:lnTo>
                <a:lnTo>
                  <a:pt x="222" y="124"/>
                </a:lnTo>
                <a:lnTo>
                  <a:pt x="221" y="117"/>
                </a:lnTo>
                <a:lnTo>
                  <a:pt x="220" y="109"/>
                </a:lnTo>
                <a:lnTo>
                  <a:pt x="221" y="102"/>
                </a:lnTo>
                <a:lnTo>
                  <a:pt x="222" y="94"/>
                </a:lnTo>
                <a:lnTo>
                  <a:pt x="224" y="87"/>
                </a:lnTo>
                <a:lnTo>
                  <a:pt x="227" y="79"/>
                </a:lnTo>
                <a:lnTo>
                  <a:pt x="230" y="72"/>
                </a:lnTo>
                <a:lnTo>
                  <a:pt x="233" y="66"/>
                </a:lnTo>
                <a:lnTo>
                  <a:pt x="239" y="59"/>
                </a:lnTo>
                <a:lnTo>
                  <a:pt x="244" y="53"/>
                </a:lnTo>
                <a:lnTo>
                  <a:pt x="244" y="53"/>
                </a:lnTo>
                <a:close/>
                <a:moveTo>
                  <a:pt x="537" y="53"/>
                </a:moveTo>
                <a:lnTo>
                  <a:pt x="543" y="47"/>
                </a:lnTo>
                <a:lnTo>
                  <a:pt x="550" y="43"/>
                </a:lnTo>
                <a:lnTo>
                  <a:pt x="556" y="39"/>
                </a:lnTo>
                <a:lnTo>
                  <a:pt x="563" y="36"/>
                </a:lnTo>
                <a:lnTo>
                  <a:pt x="570" y="33"/>
                </a:lnTo>
                <a:lnTo>
                  <a:pt x="578" y="31"/>
                </a:lnTo>
                <a:lnTo>
                  <a:pt x="585" y="30"/>
                </a:lnTo>
                <a:lnTo>
                  <a:pt x="594" y="30"/>
                </a:lnTo>
                <a:lnTo>
                  <a:pt x="601" y="30"/>
                </a:lnTo>
                <a:lnTo>
                  <a:pt x="609" y="31"/>
                </a:lnTo>
                <a:lnTo>
                  <a:pt x="616" y="33"/>
                </a:lnTo>
                <a:lnTo>
                  <a:pt x="623" y="36"/>
                </a:lnTo>
                <a:lnTo>
                  <a:pt x="631" y="39"/>
                </a:lnTo>
                <a:lnTo>
                  <a:pt x="637" y="43"/>
                </a:lnTo>
                <a:lnTo>
                  <a:pt x="644" y="47"/>
                </a:lnTo>
                <a:lnTo>
                  <a:pt x="649" y="53"/>
                </a:lnTo>
                <a:lnTo>
                  <a:pt x="654" y="59"/>
                </a:lnTo>
                <a:lnTo>
                  <a:pt x="660" y="66"/>
                </a:lnTo>
                <a:lnTo>
                  <a:pt x="663" y="72"/>
                </a:lnTo>
                <a:lnTo>
                  <a:pt x="666" y="79"/>
                </a:lnTo>
                <a:lnTo>
                  <a:pt x="669" y="87"/>
                </a:lnTo>
                <a:lnTo>
                  <a:pt x="671" y="94"/>
                </a:lnTo>
                <a:lnTo>
                  <a:pt x="672" y="102"/>
                </a:lnTo>
                <a:lnTo>
                  <a:pt x="673" y="109"/>
                </a:lnTo>
                <a:lnTo>
                  <a:pt x="672" y="117"/>
                </a:lnTo>
                <a:lnTo>
                  <a:pt x="671" y="124"/>
                </a:lnTo>
                <a:lnTo>
                  <a:pt x="669" y="132"/>
                </a:lnTo>
                <a:lnTo>
                  <a:pt x="666" y="139"/>
                </a:lnTo>
                <a:lnTo>
                  <a:pt x="663" y="146"/>
                </a:lnTo>
                <a:lnTo>
                  <a:pt x="660" y="153"/>
                </a:lnTo>
                <a:lnTo>
                  <a:pt x="654" y="160"/>
                </a:lnTo>
                <a:lnTo>
                  <a:pt x="649" y="165"/>
                </a:lnTo>
                <a:lnTo>
                  <a:pt x="644" y="169"/>
                </a:lnTo>
                <a:lnTo>
                  <a:pt x="637" y="175"/>
                </a:lnTo>
                <a:lnTo>
                  <a:pt x="629" y="179"/>
                </a:lnTo>
                <a:lnTo>
                  <a:pt x="619" y="184"/>
                </a:lnTo>
                <a:lnTo>
                  <a:pt x="597" y="194"/>
                </a:lnTo>
                <a:lnTo>
                  <a:pt x="571" y="204"/>
                </a:lnTo>
                <a:lnTo>
                  <a:pt x="544" y="212"/>
                </a:lnTo>
                <a:lnTo>
                  <a:pt x="517" y="221"/>
                </a:lnTo>
                <a:lnTo>
                  <a:pt x="491" y="228"/>
                </a:lnTo>
                <a:lnTo>
                  <a:pt x="467" y="236"/>
                </a:lnTo>
                <a:lnTo>
                  <a:pt x="474" y="212"/>
                </a:lnTo>
                <a:lnTo>
                  <a:pt x="481" y="185"/>
                </a:lnTo>
                <a:lnTo>
                  <a:pt x="490" y="159"/>
                </a:lnTo>
                <a:lnTo>
                  <a:pt x="499" y="131"/>
                </a:lnTo>
                <a:lnTo>
                  <a:pt x="509" y="106"/>
                </a:lnTo>
                <a:lnTo>
                  <a:pt x="519" y="84"/>
                </a:lnTo>
                <a:lnTo>
                  <a:pt x="523" y="74"/>
                </a:lnTo>
                <a:lnTo>
                  <a:pt x="528" y="66"/>
                </a:lnTo>
                <a:lnTo>
                  <a:pt x="533" y="58"/>
                </a:lnTo>
                <a:lnTo>
                  <a:pt x="537" y="53"/>
                </a:lnTo>
                <a:lnTo>
                  <a:pt x="537" y="53"/>
                </a:lnTo>
                <a:close/>
                <a:moveTo>
                  <a:pt x="568" y="421"/>
                </a:moveTo>
                <a:lnTo>
                  <a:pt x="568" y="839"/>
                </a:lnTo>
                <a:lnTo>
                  <a:pt x="328" y="839"/>
                </a:lnTo>
                <a:lnTo>
                  <a:pt x="328" y="421"/>
                </a:lnTo>
                <a:lnTo>
                  <a:pt x="568" y="421"/>
                </a:lnTo>
                <a:close/>
                <a:moveTo>
                  <a:pt x="328" y="391"/>
                </a:moveTo>
                <a:lnTo>
                  <a:pt x="328" y="271"/>
                </a:lnTo>
                <a:lnTo>
                  <a:pt x="568" y="271"/>
                </a:lnTo>
                <a:lnTo>
                  <a:pt x="568" y="391"/>
                </a:lnTo>
                <a:lnTo>
                  <a:pt x="328" y="391"/>
                </a:lnTo>
                <a:close/>
                <a:moveTo>
                  <a:pt x="896" y="241"/>
                </a:moveTo>
                <a:lnTo>
                  <a:pt x="554" y="241"/>
                </a:lnTo>
                <a:lnTo>
                  <a:pt x="589" y="228"/>
                </a:lnTo>
                <a:lnTo>
                  <a:pt x="622" y="215"/>
                </a:lnTo>
                <a:lnTo>
                  <a:pt x="637" y="208"/>
                </a:lnTo>
                <a:lnTo>
                  <a:pt x="650" y="201"/>
                </a:lnTo>
                <a:lnTo>
                  <a:pt x="662" y="194"/>
                </a:lnTo>
                <a:lnTo>
                  <a:pt x="671" y="186"/>
                </a:lnTo>
                <a:lnTo>
                  <a:pt x="678" y="178"/>
                </a:lnTo>
                <a:lnTo>
                  <a:pt x="684" y="169"/>
                </a:lnTo>
                <a:lnTo>
                  <a:pt x="690" y="160"/>
                </a:lnTo>
                <a:lnTo>
                  <a:pt x="694" y="150"/>
                </a:lnTo>
                <a:lnTo>
                  <a:pt x="697" y="140"/>
                </a:lnTo>
                <a:lnTo>
                  <a:pt x="700" y="130"/>
                </a:lnTo>
                <a:lnTo>
                  <a:pt x="702" y="120"/>
                </a:lnTo>
                <a:lnTo>
                  <a:pt x="703" y="109"/>
                </a:lnTo>
                <a:lnTo>
                  <a:pt x="702" y="99"/>
                </a:lnTo>
                <a:lnTo>
                  <a:pt x="700" y="88"/>
                </a:lnTo>
                <a:lnTo>
                  <a:pt x="697" y="78"/>
                </a:lnTo>
                <a:lnTo>
                  <a:pt x="694" y="68"/>
                </a:lnTo>
                <a:lnTo>
                  <a:pt x="690" y="58"/>
                </a:lnTo>
                <a:lnTo>
                  <a:pt x="684" y="50"/>
                </a:lnTo>
                <a:lnTo>
                  <a:pt x="678" y="40"/>
                </a:lnTo>
                <a:lnTo>
                  <a:pt x="671" y="32"/>
                </a:lnTo>
                <a:lnTo>
                  <a:pt x="662" y="25"/>
                </a:lnTo>
                <a:lnTo>
                  <a:pt x="653" y="18"/>
                </a:lnTo>
                <a:lnTo>
                  <a:pt x="645" y="13"/>
                </a:lnTo>
                <a:lnTo>
                  <a:pt x="635" y="8"/>
                </a:lnTo>
                <a:lnTo>
                  <a:pt x="625" y="5"/>
                </a:lnTo>
                <a:lnTo>
                  <a:pt x="615" y="2"/>
                </a:lnTo>
                <a:lnTo>
                  <a:pt x="604" y="0"/>
                </a:lnTo>
                <a:lnTo>
                  <a:pt x="594" y="0"/>
                </a:lnTo>
                <a:lnTo>
                  <a:pt x="582" y="0"/>
                </a:lnTo>
                <a:lnTo>
                  <a:pt x="572" y="2"/>
                </a:lnTo>
                <a:lnTo>
                  <a:pt x="561" y="5"/>
                </a:lnTo>
                <a:lnTo>
                  <a:pt x="552" y="8"/>
                </a:lnTo>
                <a:lnTo>
                  <a:pt x="542" y="13"/>
                </a:lnTo>
                <a:lnTo>
                  <a:pt x="533" y="18"/>
                </a:lnTo>
                <a:lnTo>
                  <a:pt x="524" y="25"/>
                </a:lnTo>
                <a:lnTo>
                  <a:pt x="515" y="32"/>
                </a:lnTo>
                <a:lnTo>
                  <a:pt x="511" y="38"/>
                </a:lnTo>
                <a:lnTo>
                  <a:pt x="506" y="44"/>
                </a:lnTo>
                <a:lnTo>
                  <a:pt x="502" y="52"/>
                </a:lnTo>
                <a:lnTo>
                  <a:pt x="496" y="61"/>
                </a:lnTo>
                <a:lnTo>
                  <a:pt x="487" y="81"/>
                </a:lnTo>
                <a:lnTo>
                  <a:pt x="477" y="103"/>
                </a:lnTo>
                <a:lnTo>
                  <a:pt x="468" y="128"/>
                </a:lnTo>
                <a:lnTo>
                  <a:pt x="461" y="152"/>
                </a:lnTo>
                <a:lnTo>
                  <a:pt x="453" y="176"/>
                </a:lnTo>
                <a:lnTo>
                  <a:pt x="447" y="198"/>
                </a:lnTo>
                <a:lnTo>
                  <a:pt x="440" y="176"/>
                </a:lnTo>
                <a:lnTo>
                  <a:pt x="432" y="152"/>
                </a:lnTo>
                <a:lnTo>
                  <a:pt x="425" y="128"/>
                </a:lnTo>
                <a:lnTo>
                  <a:pt x="416" y="103"/>
                </a:lnTo>
                <a:lnTo>
                  <a:pt x="406" y="81"/>
                </a:lnTo>
                <a:lnTo>
                  <a:pt x="397" y="61"/>
                </a:lnTo>
                <a:lnTo>
                  <a:pt x="391" y="52"/>
                </a:lnTo>
                <a:lnTo>
                  <a:pt x="387" y="44"/>
                </a:lnTo>
                <a:lnTo>
                  <a:pt x="382" y="38"/>
                </a:lnTo>
                <a:lnTo>
                  <a:pt x="378" y="32"/>
                </a:lnTo>
                <a:lnTo>
                  <a:pt x="369" y="25"/>
                </a:lnTo>
                <a:lnTo>
                  <a:pt x="360" y="18"/>
                </a:lnTo>
                <a:lnTo>
                  <a:pt x="351" y="13"/>
                </a:lnTo>
                <a:lnTo>
                  <a:pt x="342" y="8"/>
                </a:lnTo>
                <a:lnTo>
                  <a:pt x="332" y="5"/>
                </a:lnTo>
                <a:lnTo>
                  <a:pt x="321" y="2"/>
                </a:lnTo>
                <a:lnTo>
                  <a:pt x="311" y="0"/>
                </a:lnTo>
                <a:lnTo>
                  <a:pt x="299" y="0"/>
                </a:lnTo>
                <a:lnTo>
                  <a:pt x="289" y="0"/>
                </a:lnTo>
                <a:lnTo>
                  <a:pt x="278" y="2"/>
                </a:lnTo>
                <a:lnTo>
                  <a:pt x="268" y="5"/>
                </a:lnTo>
                <a:lnTo>
                  <a:pt x="258" y="8"/>
                </a:lnTo>
                <a:lnTo>
                  <a:pt x="248" y="13"/>
                </a:lnTo>
                <a:lnTo>
                  <a:pt x="240" y="18"/>
                </a:lnTo>
                <a:lnTo>
                  <a:pt x="231" y="25"/>
                </a:lnTo>
                <a:lnTo>
                  <a:pt x="222" y="32"/>
                </a:lnTo>
                <a:lnTo>
                  <a:pt x="215" y="40"/>
                </a:lnTo>
                <a:lnTo>
                  <a:pt x="209" y="50"/>
                </a:lnTo>
                <a:lnTo>
                  <a:pt x="203" y="58"/>
                </a:lnTo>
                <a:lnTo>
                  <a:pt x="199" y="68"/>
                </a:lnTo>
                <a:lnTo>
                  <a:pt x="196" y="78"/>
                </a:lnTo>
                <a:lnTo>
                  <a:pt x="193" y="88"/>
                </a:lnTo>
                <a:lnTo>
                  <a:pt x="191" y="99"/>
                </a:lnTo>
                <a:lnTo>
                  <a:pt x="190" y="109"/>
                </a:lnTo>
                <a:lnTo>
                  <a:pt x="191" y="120"/>
                </a:lnTo>
                <a:lnTo>
                  <a:pt x="193" y="130"/>
                </a:lnTo>
                <a:lnTo>
                  <a:pt x="196" y="140"/>
                </a:lnTo>
                <a:lnTo>
                  <a:pt x="199" y="150"/>
                </a:lnTo>
                <a:lnTo>
                  <a:pt x="203" y="160"/>
                </a:lnTo>
                <a:lnTo>
                  <a:pt x="209" y="169"/>
                </a:lnTo>
                <a:lnTo>
                  <a:pt x="215" y="178"/>
                </a:lnTo>
                <a:lnTo>
                  <a:pt x="222" y="186"/>
                </a:lnTo>
                <a:lnTo>
                  <a:pt x="231" y="194"/>
                </a:lnTo>
                <a:lnTo>
                  <a:pt x="243" y="201"/>
                </a:lnTo>
                <a:lnTo>
                  <a:pt x="256" y="208"/>
                </a:lnTo>
                <a:lnTo>
                  <a:pt x="271" y="215"/>
                </a:lnTo>
                <a:lnTo>
                  <a:pt x="304" y="228"/>
                </a:lnTo>
                <a:lnTo>
                  <a:pt x="339" y="241"/>
                </a:lnTo>
                <a:lnTo>
                  <a:pt x="0" y="241"/>
                </a:lnTo>
                <a:lnTo>
                  <a:pt x="0" y="421"/>
                </a:lnTo>
                <a:lnTo>
                  <a:pt x="30" y="421"/>
                </a:lnTo>
                <a:lnTo>
                  <a:pt x="30" y="869"/>
                </a:lnTo>
                <a:lnTo>
                  <a:pt x="867" y="869"/>
                </a:lnTo>
                <a:lnTo>
                  <a:pt x="867" y="421"/>
                </a:lnTo>
                <a:lnTo>
                  <a:pt x="896" y="421"/>
                </a:lnTo>
                <a:lnTo>
                  <a:pt x="896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scene3d>
            <a:camera prst="isometricTopUp"/>
            <a:lightRig rig="threePt" dir="t"/>
          </a:scene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BD254B06-2AAD-40FF-B244-F915734B28AF}"/>
              </a:ext>
            </a:extLst>
          </p:cNvPr>
          <p:cNvGrpSpPr/>
          <p:nvPr/>
        </p:nvGrpSpPr>
        <p:grpSpPr>
          <a:xfrm>
            <a:off x="2474955" y="3509935"/>
            <a:ext cx="756568" cy="756568"/>
            <a:chOff x="1547813" y="4452938"/>
            <a:chExt cx="303213" cy="303213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36" name="Freeform 136">
              <a:extLst>
                <a:ext uri="{FF2B5EF4-FFF2-40B4-BE49-F238E27FC236}">
                  <a16:creationId xmlns:a16="http://schemas.microsoft.com/office/drawing/2014/main" id="{A4B1124D-1B5D-4B66-B0E0-418667F6BB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4452938"/>
              <a:ext cx="303213" cy="303213"/>
            </a:xfrm>
            <a:custGeom>
              <a:avLst/>
              <a:gdLst>
                <a:gd name="T0" fmla="*/ 310 w 763"/>
                <a:gd name="T1" fmla="*/ 731 h 764"/>
                <a:gd name="T2" fmla="*/ 228 w 763"/>
                <a:gd name="T3" fmla="*/ 704 h 764"/>
                <a:gd name="T4" fmla="*/ 155 w 763"/>
                <a:gd name="T5" fmla="*/ 657 h 764"/>
                <a:gd name="T6" fmla="*/ 95 w 763"/>
                <a:gd name="T7" fmla="*/ 595 h 764"/>
                <a:gd name="T8" fmla="*/ 54 w 763"/>
                <a:gd name="T9" fmla="*/ 521 h 764"/>
                <a:gd name="T10" fmla="*/ 29 w 763"/>
                <a:gd name="T11" fmla="*/ 436 h 764"/>
                <a:gd name="T12" fmla="*/ 27 w 763"/>
                <a:gd name="T13" fmla="*/ 346 h 764"/>
                <a:gd name="T14" fmla="*/ 47 w 763"/>
                <a:gd name="T15" fmla="*/ 260 h 764"/>
                <a:gd name="T16" fmla="*/ 86 w 763"/>
                <a:gd name="T17" fmla="*/ 183 h 764"/>
                <a:gd name="T18" fmla="*/ 142 w 763"/>
                <a:gd name="T19" fmla="*/ 118 h 764"/>
                <a:gd name="T20" fmla="*/ 211 w 763"/>
                <a:gd name="T21" fmla="*/ 69 h 764"/>
                <a:gd name="T22" fmla="*/ 293 w 763"/>
                <a:gd name="T23" fmla="*/ 37 h 764"/>
                <a:gd name="T24" fmla="*/ 381 w 763"/>
                <a:gd name="T25" fmla="*/ 25 h 764"/>
                <a:gd name="T26" fmla="*/ 470 w 763"/>
                <a:gd name="T27" fmla="*/ 37 h 764"/>
                <a:gd name="T28" fmla="*/ 552 w 763"/>
                <a:gd name="T29" fmla="*/ 69 h 764"/>
                <a:gd name="T30" fmla="*/ 622 w 763"/>
                <a:gd name="T31" fmla="*/ 118 h 764"/>
                <a:gd name="T32" fmla="*/ 677 w 763"/>
                <a:gd name="T33" fmla="*/ 183 h 764"/>
                <a:gd name="T34" fmla="*/ 716 w 763"/>
                <a:gd name="T35" fmla="*/ 260 h 764"/>
                <a:gd name="T36" fmla="*/ 736 w 763"/>
                <a:gd name="T37" fmla="*/ 346 h 764"/>
                <a:gd name="T38" fmla="*/ 734 w 763"/>
                <a:gd name="T39" fmla="*/ 436 h 764"/>
                <a:gd name="T40" fmla="*/ 710 w 763"/>
                <a:gd name="T41" fmla="*/ 521 h 764"/>
                <a:gd name="T42" fmla="*/ 667 w 763"/>
                <a:gd name="T43" fmla="*/ 595 h 764"/>
                <a:gd name="T44" fmla="*/ 609 w 763"/>
                <a:gd name="T45" fmla="*/ 657 h 764"/>
                <a:gd name="T46" fmla="*/ 536 w 763"/>
                <a:gd name="T47" fmla="*/ 704 h 764"/>
                <a:gd name="T48" fmla="*/ 453 w 763"/>
                <a:gd name="T49" fmla="*/ 731 h 764"/>
                <a:gd name="T50" fmla="*/ 381 w 763"/>
                <a:gd name="T51" fmla="*/ 0 h 764"/>
                <a:gd name="T52" fmla="*/ 287 w 763"/>
                <a:gd name="T53" fmla="*/ 12 h 764"/>
                <a:gd name="T54" fmla="*/ 200 w 763"/>
                <a:gd name="T55" fmla="*/ 46 h 764"/>
                <a:gd name="T56" fmla="*/ 124 w 763"/>
                <a:gd name="T57" fmla="*/ 99 h 764"/>
                <a:gd name="T58" fmla="*/ 65 w 763"/>
                <a:gd name="T59" fmla="*/ 169 h 764"/>
                <a:gd name="T60" fmla="*/ 22 w 763"/>
                <a:gd name="T61" fmla="*/ 250 h 764"/>
                <a:gd name="T62" fmla="*/ 2 w 763"/>
                <a:gd name="T63" fmla="*/ 343 h 764"/>
                <a:gd name="T64" fmla="*/ 4 w 763"/>
                <a:gd name="T65" fmla="*/ 440 h 764"/>
                <a:gd name="T66" fmla="*/ 30 w 763"/>
                <a:gd name="T67" fmla="*/ 531 h 764"/>
                <a:gd name="T68" fmla="*/ 75 w 763"/>
                <a:gd name="T69" fmla="*/ 610 h 764"/>
                <a:gd name="T70" fmla="*/ 138 w 763"/>
                <a:gd name="T71" fmla="*/ 677 h 764"/>
                <a:gd name="T72" fmla="*/ 216 w 763"/>
                <a:gd name="T73" fmla="*/ 726 h 764"/>
                <a:gd name="T74" fmla="*/ 305 w 763"/>
                <a:gd name="T75" fmla="*/ 756 h 764"/>
                <a:gd name="T76" fmla="*/ 401 w 763"/>
                <a:gd name="T77" fmla="*/ 764 h 764"/>
                <a:gd name="T78" fmla="*/ 495 w 763"/>
                <a:gd name="T79" fmla="*/ 747 h 764"/>
                <a:gd name="T80" fmla="*/ 580 w 763"/>
                <a:gd name="T81" fmla="*/ 709 h 764"/>
                <a:gd name="T82" fmla="*/ 652 w 763"/>
                <a:gd name="T83" fmla="*/ 652 h 764"/>
                <a:gd name="T84" fmla="*/ 709 w 763"/>
                <a:gd name="T85" fmla="*/ 580 h 764"/>
                <a:gd name="T86" fmla="*/ 746 w 763"/>
                <a:gd name="T87" fmla="*/ 495 h 764"/>
                <a:gd name="T88" fmla="*/ 763 w 763"/>
                <a:gd name="T89" fmla="*/ 402 h 764"/>
                <a:gd name="T90" fmla="*/ 756 w 763"/>
                <a:gd name="T91" fmla="*/ 305 h 764"/>
                <a:gd name="T92" fmla="*/ 726 w 763"/>
                <a:gd name="T93" fmla="*/ 217 h 764"/>
                <a:gd name="T94" fmla="*/ 676 w 763"/>
                <a:gd name="T95" fmla="*/ 139 h 764"/>
                <a:gd name="T96" fmla="*/ 610 w 763"/>
                <a:gd name="T97" fmla="*/ 76 h 764"/>
                <a:gd name="T98" fmla="*/ 530 w 763"/>
                <a:gd name="T99" fmla="*/ 30 h 764"/>
                <a:gd name="T100" fmla="*/ 440 w 763"/>
                <a:gd name="T101" fmla="*/ 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3" h="764">
                  <a:moveTo>
                    <a:pt x="381" y="738"/>
                  </a:moveTo>
                  <a:lnTo>
                    <a:pt x="363" y="738"/>
                  </a:lnTo>
                  <a:lnTo>
                    <a:pt x="346" y="737"/>
                  </a:lnTo>
                  <a:lnTo>
                    <a:pt x="327" y="735"/>
                  </a:lnTo>
                  <a:lnTo>
                    <a:pt x="310" y="731"/>
                  </a:lnTo>
                  <a:lnTo>
                    <a:pt x="293" y="727"/>
                  </a:lnTo>
                  <a:lnTo>
                    <a:pt x="276" y="723"/>
                  </a:lnTo>
                  <a:lnTo>
                    <a:pt x="259" y="716"/>
                  </a:lnTo>
                  <a:lnTo>
                    <a:pt x="243" y="710"/>
                  </a:lnTo>
                  <a:lnTo>
                    <a:pt x="228" y="704"/>
                  </a:lnTo>
                  <a:lnTo>
                    <a:pt x="211" y="695"/>
                  </a:lnTo>
                  <a:lnTo>
                    <a:pt x="196" y="686"/>
                  </a:lnTo>
                  <a:lnTo>
                    <a:pt x="182" y="678"/>
                  </a:lnTo>
                  <a:lnTo>
                    <a:pt x="168" y="668"/>
                  </a:lnTo>
                  <a:lnTo>
                    <a:pt x="155" y="657"/>
                  </a:lnTo>
                  <a:lnTo>
                    <a:pt x="142" y="646"/>
                  </a:lnTo>
                  <a:lnTo>
                    <a:pt x="130" y="634"/>
                  </a:lnTo>
                  <a:lnTo>
                    <a:pt x="118" y="622"/>
                  </a:lnTo>
                  <a:lnTo>
                    <a:pt x="106" y="609"/>
                  </a:lnTo>
                  <a:lnTo>
                    <a:pt x="95" y="595"/>
                  </a:lnTo>
                  <a:lnTo>
                    <a:pt x="86" y="581"/>
                  </a:lnTo>
                  <a:lnTo>
                    <a:pt x="77" y="567"/>
                  </a:lnTo>
                  <a:lnTo>
                    <a:pt x="69" y="552"/>
                  </a:lnTo>
                  <a:lnTo>
                    <a:pt x="60" y="537"/>
                  </a:lnTo>
                  <a:lnTo>
                    <a:pt x="54" y="521"/>
                  </a:lnTo>
                  <a:lnTo>
                    <a:pt x="47" y="505"/>
                  </a:lnTo>
                  <a:lnTo>
                    <a:pt x="41" y="488"/>
                  </a:lnTo>
                  <a:lnTo>
                    <a:pt x="36" y="472"/>
                  </a:lnTo>
                  <a:lnTo>
                    <a:pt x="32" y="453"/>
                  </a:lnTo>
                  <a:lnTo>
                    <a:pt x="29" y="436"/>
                  </a:lnTo>
                  <a:lnTo>
                    <a:pt x="27" y="418"/>
                  </a:lnTo>
                  <a:lnTo>
                    <a:pt x="26" y="401"/>
                  </a:lnTo>
                  <a:lnTo>
                    <a:pt x="25" y="381"/>
                  </a:lnTo>
                  <a:lnTo>
                    <a:pt x="26" y="363"/>
                  </a:lnTo>
                  <a:lnTo>
                    <a:pt x="27" y="346"/>
                  </a:lnTo>
                  <a:lnTo>
                    <a:pt x="29" y="328"/>
                  </a:lnTo>
                  <a:lnTo>
                    <a:pt x="32" y="311"/>
                  </a:lnTo>
                  <a:lnTo>
                    <a:pt x="36" y="293"/>
                  </a:lnTo>
                  <a:lnTo>
                    <a:pt x="41" y="276"/>
                  </a:lnTo>
                  <a:lnTo>
                    <a:pt x="47" y="260"/>
                  </a:lnTo>
                  <a:lnTo>
                    <a:pt x="54" y="243"/>
                  </a:lnTo>
                  <a:lnTo>
                    <a:pt x="60" y="228"/>
                  </a:lnTo>
                  <a:lnTo>
                    <a:pt x="69" y="212"/>
                  </a:lnTo>
                  <a:lnTo>
                    <a:pt x="77" y="198"/>
                  </a:lnTo>
                  <a:lnTo>
                    <a:pt x="86" y="183"/>
                  </a:lnTo>
                  <a:lnTo>
                    <a:pt x="95" y="169"/>
                  </a:lnTo>
                  <a:lnTo>
                    <a:pt x="106" y="156"/>
                  </a:lnTo>
                  <a:lnTo>
                    <a:pt x="118" y="142"/>
                  </a:lnTo>
                  <a:lnTo>
                    <a:pt x="130" y="130"/>
                  </a:lnTo>
                  <a:lnTo>
                    <a:pt x="142" y="118"/>
                  </a:lnTo>
                  <a:lnTo>
                    <a:pt x="155" y="107"/>
                  </a:lnTo>
                  <a:lnTo>
                    <a:pt x="168" y="97"/>
                  </a:lnTo>
                  <a:lnTo>
                    <a:pt x="182" y="86"/>
                  </a:lnTo>
                  <a:lnTo>
                    <a:pt x="196" y="78"/>
                  </a:lnTo>
                  <a:lnTo>
                    <a:pt x="211" y="69"/>
                  </a:lnTo>
                  <a:lnTo>
                    <a:pt x="228" y="60"/>
                  </a:lnTo>
                  <a:lnTo>
                    <a:pt x="243" y="54"/>
                  </a:lnTo>
                  <a:lnTo>
                    <a:pt x="259" y="47"/>
                  </a:lnTo>
                  <a:lnTo>
                    <a:pt x="276" y="41"/>
                  </a:lnTo>
                  <a:lnTo>
                    <a:pt x="293" y="37"/>
                  </a:lnTo>
                  <a:lnTo>
                    <a:pt x="310" y="32"/>
                  </a:lnTo>
                  <a:lnTo>
                    <a:pt x="327" y="29"/>
                  </a:lnTo>
                  <a:lnTo>
                    <a:pt x="346" y="27"/>
                  </a:lnTo>
                  <a:lnTo>
                    <a:pt x="363" y="26"/>
                  </a:lnTo>
                  <a:lnTo>
                    <a:pt x="381" y="25"/>
                  </a:lnTo>
                  <a:lnTo>
                    <a:pt x="400" y="26"/>
                  </a:lnTo>
                  <a:lnTo>
                    <a:pt x="418" y="27"/>
                  </a:lnTo>
                  <a:lnTo>
                    <a:pt x="436" y="29"/>
                  </a:lnTo>
                  <a:lnTo>
                    <a:pt x="453" y="32"/>
                  </a:lnTo>
                  <a:lnTo>
                    <a:pt x="470" y="37"/>
                  </a:lnTo>
                  <a:lnTo>
                    <a:pt x="487" y="41"/>
                  </a:lnTo>
                  <a:lnTo>
                    <a:pt x="505" y="47"/>
                  </a:lnTo>
                  <a:lnTo>
                    <a:pt x="521" y="54"/>
                  </a:lnTo>
                  <a:lnTo>
                    <a:pt x="536" y="60"/>
                  </a:lnTo>
                  <a:lnTo>
                    <a:pt x="552" y="69"/>
                  </a:lnTo>
                  <a:lnTo>
                    <a:pt x="567" y="78"/>
                  </a:lnTo>
                  <a:lnTo>
                    <a:pt x="581" y="86"/>
                  </a:lnTo>
                  <a:lnTo>
                    <a:pt x="595" y="97"/>
                  </a:lnTo>
                  <a:lnTo>
                    <a:pt x="609" y="107"/>
                  </a:lnTo>
                  <a:lnTo>
                    <a:pt x="622" y="118"/>
                  </a:lnTo>
                  <a:lnTo>
                    <a:pt x="633" y="130"/>
                  </a:lnTo>
                  <a:lnTo>
                    <a:pt x="645" y="142"/>
                  </a:lnTo>
                  <a:lnTo>
                    <a:pt x="657" y="156"/>
                  </a:lnTo>
                  <a:lnTo>
                    <a:pt x="667" y="169"/>
                  </a:lnTo>
                  <a:lnTo>
                    <a:pt x="677" y="183"/>
                  </a:lnTo>
                  <a:lnTo>
                    <a:pt x="686" y="198"/>
                  </a:lnTo>
                  <a:lnTo>
                    <a:pt x="695" y="212"/>
                  </a:lnTo>
                  <a:lnTo>
                    <a:pt x="703" y="228"/>
                  </a:lnTo>
                  <a:lnTo>
                    <a:pt x="710" y="243"/>
                  </a:lnTo>
                  <a:lnTo>
                    <a:pt x="716" y="260"/>
                  </a:lnTo>
                  <a:lnTo>
                    <a:pt x="722" y="276"/>
                  </a:lnTo>
                  <a:lnTo>
                    <a:pt x="727" y="293"/>
                  </a:lnTo>
                  <a:lnTo>
                    <a:pt x="731" y="311"/>
                  </a:lnTo>
                  <a:lnTo>
                    <a:pt x="734" y="328"/>
                  </a:lnTo>
                  <a:lnTo>
                    <a:pt x="736" y="346"/>
                  </a:lnTo>
                  <a:lnTo>
                    <a:pt x="738" y="363"/>
                  </a:lnTo>
                  <a:lnTo>
                    <a:pt x="739" y="381"/>
                  </a:lnTo>
                  <a:lnTo>
                    <a:pt x="738" y="401"/>
                  </a:lnTo>
                  <a:lnTo>
                    <a:pt x="736" y="418"/>
                  </a:lnTo>
                  <a:lnTo>
                    <a:pt x="734" y="436"/>
                  </a:lnTo>
                  <a:lnTo>
                    <a:pt x="731" y="453"/>
                  </a:lnTo>
                  <a:lnTo>
                    <a:pt x="727" y="472"/>
                  </a:lnTo>
                  <a:lnTo>
                    <a:pt x="722" y="488"/>
                  </a:lnTo>
                  <a:lnTo>
                    <a:pt x="716" y="505"/>
                  </a:lnTo>
                  <a:lnTo>
                    <a:pt x="710" y="521"/>
                  </a:lnTo>
                  <a:lnTo>
                    <a:pt x="703" y="537"/>
                  </a:lnTo>
                  <a:lnTo>
                    <a:pt x="695" y="552"/>
                  </a:lnTo>
                  <a:lnTo>
                    <a:pt x="686" y="567"/>
                  </a:lnTo>
                  <a:lnTo>
                    <a:pt x="677" y="581"/>
                  </a:lnTo>
                  <a:lnTo>
                    <a:pt x="667" y="595"/>
                  </a:lnTo>
                  <a:lnTo>
                    <a:pt x="657" y="609"/>
                  </a:lnTo>
                  <a:lnTo>
                    <a:pt x="645" y="622"/>
                  </a:lnTo>
                  <a:lnTo>
                    <a:pt x="633" y="634"/>
                  </a:lnTo>
                  <a:lnTo>
                    <a:pt x="622" y="646"/>
                  </a:lnTo>
                  <a:lnTo>
                    <a:pt x="609" y="657"/>
                  </a:lnTo>
                  <a:lnTo>
                    <a:pt x="595" y="668"/>
                  </a:lnTo>
                  <a:lnTo>
                    <a:pt x="581" y="678"/>
                  </a:lnTo>
                  <a:lnTo>
                    <a:pt x="567" y="686"/>
                  </a:lnTo>
                  <a:lnTo>
                    <a:pt x="552" y="695"/>
                  </a:lnTo>
                  <a:lnTo>
                    <a:pt x="536" y="704"/>
                  </a:lnTo>
                  <a:lnTo>
                    <a:pt x="521" y="710"/>
                  </a:lnTo>
                  <a:lnTo>
                    <a:pt x="505" y="716"/>
                  </a:lnTo>
                  <a:lnTo>
                    <a:pt x="487" y="723"/>
                  </a:lnTo>
                  <a:lnTo>
                    <a:pt x="470" y="727"/>
                  </a:lnTo>
                  <a:lnTo>
                    <a:pt x="453" y="731"/>
                  </a:lnTo>
                  <a:lnTo>
                    <a:pt x="436" y="735"/>
                  </a:lnTo>
                  <a:lnTo>
                    <a:pt x="418" y="737"/>
                  </a:lnTo>
                  <a:lnTo>
                    <a:pt x="400" y="738"/>
                  </a:lnTo>
                  <a:lnTo>
                    <a:pt x="381" y="738"/>
                  </a:lnTo>
                  <a:close/>
                  <a:moveTo>
                    <a:pt x="381" y="0"/>
                  </a:moveTo>
                  <a:lnTo>
                    <a:pt x="362" y="0"/>
                  </a:lnTo>
                  <a:lnTo>
                    <a:pt x="342" y="1"/>
                  </a:lnTo>
                  <a:lnTo>
                    <a:pt x="323" y="5"/>
                  </a:lnTo>
                  <a:lnTo>
                    <a:pt x="305" y="8"/>
                  </a:lnTo>
                  <a:lnTo>
                    <a:pt x="287" y="12"/>
                  </a:lnTo>
                  <a:lnTo>
                    <a:pt x="268" y="17"/>
                  </a:lnTo>
                  <a:lnTo>
                    <a:pt x="250" y="23"/>
                  </a:lnTo>
                  <a:lnTo>
                    <a:pt x="233" y="30"/>
                  </a:lnTo>
                  <a:lnTo>
                    <a:pt x="216" y="38"/>
                  </a:lnTo>
                  <a:lnTo>
                    <a:pt x="200" y="46"/>
                  </a:lnTo>
                  <a:lnTo>
                    <a:pt x="184" y="55"/>
                  </a:lnTo>
                  <a:lnTo>
                    <a:pt x="168" y="66"/>
                  </a:lnTo>
                  <a:lnTo>
                    <a:pt x="153" y="76"/>
                  </a:lnTo>
                  <a:lnTo>
                    <a:pt x="138" y="87"/>
                  </a:lnTo>
                  <a:lnTo>
                    <a:pt x="124" y="99"/>
                  </a:lnTo>
                  <a:lnTo>
                    <a:pt x="112" y="112"/>
                  </a:lnTo>
                  <a:lnTo>
                    <a:pt x="99" y="126"/>
                  </a:lnTo>
                  <a:lnTo>
                    <a:pt x="87" y="139"/>
                  </a:lnTo>
                  <a:lnTo>
                    <a:pt x="75" y="154"/>
                  </a:lnTo>
                  <a:lnTo>
                    <a:pt x="65" y="169"/>
                  </a:lnTo>
                  <a:lnTo>
                    <a:pt x="55" y="184"/>
                  </a:lnTo>
                  <a:lnTo>
                    <a:pt x="46" y="200"/>
                  </a:lnTo>
                  <a:lnTo>
                    <a:pt x="37" y="217"/>
                  </a:lnTo>
                  <a:lnTo>
                    <a:pt x="30" y="233"/>
                  </a:lnTo>
                  <a:lnTo>
                    <a:pt x="22" y="250"/>
                  </a:lnTo>
                  <a:lnTo>
                    <a:pt x="17" y="269"/>
                  </a:lnTo>
                  <a:lnTo>
                    <a:pt x="12" y="287"/>
                  </a:lnTo>
                  <a:lnTo>
                    <a:pt x="7" y="305"/>
                  </a:lnTo>
                  <a:lnTo>
                    <a:pt x="4" y="323"/>
                  </a:lnTo>
                  <a:lnTo>
                    <a:pt x="2" y="343"/>
                  </a:lnTo>
                  <a:lnTo>
                    <a:pt x="0" y="362"/>
                  </a:lnTo>
                  <a:lnTo>
                    <a:pt x="0" y="381"/>
                  </a:lnTo>
                  <a:lnTo>
                    <a:pt x="0" y="402"/>
                  </a:lnTo>
                  <a:lnTo>
                    <a:pt x="2" y="421"/>
                  </a:lnTo>
                  <a:lnTo>
                    <a:pt x="4" y="440"/>
                  </a:lnTo>
                  <a:lnTo>
                    <a:pt x="7" y="459"/>
                  </a:lnTo>
                  <a:lnTo>
                    <a:pt x="12" y="477"/>
                  </a:lnTo>
                  <a:lnTo>
                    <a:pt x="17" y="495"/>
                  </a:lnTo>
                  <a:lnTo>
                    <a:pt x="22" y="513"/>
                  </a:lnTo>
                  <a:lnTo>
                    <a:pt x="30" y="531"/>
                  </a:lnTo>
                  <a:lnTo>
                    <a:pt x="37" y="548"/>
                  </a:lnTo>
                  <a:lnTo>
                    <a:pt x="46" y="564"/>
                  </a:lnTo>
                  <a:lnTo>
                    <a:pt x="55" y="580"/>
                  </a:lnTo>
                  <a:lnTo>
                    <a:pt x="65" y="595"/>
                  </a:lnTo>
                  <a:lnTo>
                    <a:pt x="75" y="610"/>
                  </a:lnTo>
                  <a:lnTo>
                    <a:pt x="87" y="625"/>
                  </a:lnTo>
                  <a:lnTo>
                    <a:pt x="99" y="639"/>
                  </a:lnTo>
                  <a:lnTo>
                    <a:pt x="112" y="652"/>
                  </a:lnTo>
                  <a:lnTo>
                    <a:pt x="124" y="665"/>
                  </a:lnTo>
                  <a:lnTo>
                    <a:pt x="138" y="677"/>
                  </a:lnTo>
                  <a:lnTo>
                    <a:pt x="153" y="689"/>
                  </a:lnTo>
                  <a:lnTo>
                    <a:pt x="168" y="699"/>
                  </a:lnTo>
                  <a:lnTo>
                    <a:pt x="184" y="709"/>
                  </a:lnTo>
                  <a:lnTo>
                    <a:pt x="200" y="718"/>
                  </a:lnTo>
                  <a:lnTo>
                    <a:pt x="216" y="726"/>
                  </a:lnTo>
                  <a:lnTo>
                    <a:pt x="233" y="734"/>
                  </a:lnTo>
                  <a:lnTo>
                    <a:pt x="250" y="741"/>
                  </a:lnTo>
                  <a:lnTo>
                    <a:pt x="268" y="747"/>
                  </a:lnTo>
                  <a:lnTo>
                    <a:pt x="287" y="752"/>
                  </a:lnTo>
                  <a:lnTo>
                    <a:pt x="305" y="756"/>
                  </a:lnTo>
                  <a:lnTo>
                    <a:pt x="323" y="759"/>
                  </a:lnTo>
                  <a:lnTo>
                    <a:pt x="342" y="762"/>
                  </a:lnTo>
                  <a:lnTo>
                    <a:pt x="362" y="764"/>
                  </a:lnTo>
                  <a:lnTo>
                    <a:pt x="381" y="764"/>
                  </a:lnTo>
                  <a:lnTo>
                    <a:pt x="401" y="764"/>
                  </a:lnTo>
                  <a:lnTo>
                    <a:pt x="421" y="762"/>
                  </a:lnTo>
                  <a:lnTo>
                    <a:pt x="440" y="759"/>
                  </a:lnTo>
                  <a:lnTo>
                    <a:pt x="458" y="756"/>
                  </a:lnTo>
                  <a:lnTo>
                    <a:pt x="477" y="752"/>
                  </a:lnTo>
                  <a:lnTo>
                    <a:pt x="495" y="747"/>
                  </a:lnTo>
                  <a:lnTo>
                    <a:pt x="513" y="741"/>
                  </a:lnTo>
                  <a:lnTo>
                    <a:pt x="530" y="734"/>
                  </a:lnTo>
                  <a:lnTo>
                    <a:pt x="547" y="726"/>
                  </a:lnTo>
                  <a:lnTo>
                    <a:pt x="564" y="718"/>
                  </a:lnTo>
                  <a:lnTo>
                    <a:pt x="580" y="709"/>
                  </a:lnTo>
                  <a:lnTo>
                    <a:pt x="595" y="699"/>
                  </a:lnTo>
                  <a:lnTo>
                    <a:pt x="610" y="689"/>
                  </a:lnTo>
                  <a:lnTo>
                    <a:pt x="625" y="677"/>
                  </a:lnTo>
                  <a:lnTo>
                    <a:pt x="639" y="665"/>
                  </a:lnTo>
                  <a:lnTo>
                    <a:pt x="652" y="652"/>
                  </a:lnTo>
                  <a:lnTo>
                    <a:pt x="665" y="639"/>
                  </a:lnTo>
                  <a:lnTo>
                    <a:pt x="676" y="625"/>
                  </a:lnTo>
                  <a:lnTo>
                    <a:pt x="687" y="610"/>
                  </a:lnTo>
                  <a:lnTo>
                    <a:pt x="698" y="595"/>
                  </a:lnTo>
                  <a:lnTo>
                    <a:pt x="709" y="580"/>
                  </a:lnTo>
                  <a:lnTo>
                    <a:pt x="717" y="564"/>
                  </a:lnTo>
                  <a:lnTo>
                    <a:pt x="726" y="548"/>
                  </a:lnTo>
                  <a:lnTo>
                    <a:pt x="733" y="531"/>
                  </a:lnTo>
                  <a:lnTo>
                    <a:pt x="741" y="513"/>
                  </a:lnTo>
                  <a:lnTo>
                    <a:pt x="746" y="495"/>
                  </a:lnTo>
                  <a:lnTo>
                    <a:pt x="751" y="477"/>
                  </a:lnTo>
                  <a:lnTo>
                    <a:pt x="756" y="459"/>
                  </a:lnTo>
                  <a:lnTo>
                    <a:pt x="759" y="440"/>
                  </a:lnTo>
                  <a:lnTo>
                    <a:pt x="761" y="421"/>
                  </a:lnTo>
                  <a:lnTo>
                    <a:pt x="763" y="402"/>
                  </a:lnTo>
                  <a:lnTo>
                    <a:pt x="763" y="381"/>
                  </a:lnTo>
                  <a:lnTo>
                    <a:pt x="763" y="362"/>
                  </a:lnTo>
                  <a:lnTo>
                    <a:pt x="761" y="343"/>
                  </a:lnTo>
                  <a:lnTo>
                    <a:pt x="759" y="323"/>
                  </a:lnTo>
                  <a:lnTo>
                    <a:pt x="756" y="305"/>
                  </a:lnTo>
                  <a:lnTo>
                    <a:pt x="751" y="287"/>
                  </a:lnTo>
                  <a:lnTo>
                    <a:pt x="746" y="269"/>
                  </a:lnTo>
                  <a:lnTo>
                    <a:pt x="741" y="250"/>
                  </a:lnTo>
                  <a:lnTo>
                    <a:pt x="733" y="233"/>
                  </a:lnTo>
                  <a:lnTo>
                    <a:pt x="726" y="217"/>
                  </a:lnTo>
                  <a:lnTo>
                    <a:pt x="717" y="200"/>
                  </a:lnTo>
                  <a:lnTo>
                    <a:pt x="709" y="184"/>
                  </a:lnTo>
                  <a:lnTo>
                    <a:pt x="698" y="169"/>
                  </a:lnTo>
                  <a:lnTo>
                    <a:pt x="687" y="154"/>
                  </a:lnTo>
                  <a:lnTo>
                    <a:pt x="676" y="139"/>
                  </a:lnTo>
                  <a:lnTo>
                    <a:pt x="665" y="126"/>
                  </a:lnTo>
                  <a:lnTo>
                    <a:pt x="652" y="112"/>
                  </a:lnTo>
                  <a:lnTo>
                    <a:pt x="639" y="99"/>
                  </a:lnTo>
                  <a:lnTo>
                    <a:pt x="625" y="87"/>
                  </a:lnTo>
                  <a:lnTo>
                    <a:pt x="610" y="76"/>
                  </a:lnTo>
                  <a:lnTo>
                    <a:pt x="595" y="66"/>
                  </a:lnTo>
                  <a:lnTo>
                    <a:pt x="580" y="55"/>
                  </a:lnTo>
                  <a:lnTo>
                    <a:pt x="564" y="46"/>
                  </a:lnTo>
                  <a:lnTo>
                    <a:pt x="547" y="38"/>
                  </a:lnTo>
                  <a:lnTo>
                    <a:pt x="530" y="30"/>
                  </a:lnTo>
                  <a:lnTo>
                    <a:pt x="513" y="23"/>
                  </a:lnTo>
                  <a:lnTo>
                    <a:pt x="495" y="17"/>
                  </a:lnTo>
                  <a:lnTo>
                    <a:pt x="477" y="12"/>
                  </a:lnTo>
                  <a:lnTo>
                    <a:pt x="458" y="8"/>
                  </a:lnTo>
                  <a:lnTo>
                    <a:pt x="440" y="5"/>
                  </a:lnTo>
                  <a:lnTo>
                    <a:pt x="421" y="1"/>
                  </a:lnTo>
                  <a:lnTo>
                    <a:pt x="401" y="0"/>
                  </a:lnTo>
                  <a:lnTo>
                    <a:pt x="3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37">
              <a:extLst>
                <a:ext uri="{FF2B5EF4-FFF2-40B4-BE49-F238E27FC236}">
                  <a16:creationId xmlns:a16="http://schemas.microsoft.com/office/drawing/2014/main" id="{37BB4AAF-216D-4809-9981-D9E6BC023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813" y="4529138"/>
              <a:ext cx="106363" cy="157163"/>
            </a:xfrm>
            <a:custGeom>
              <a:avLst/>
              <a:gdLst>
                <a:gd name="T0" fmla="*/ 27 w 269"/>
                <a:gd name="T1" fmla="*/ 180 h 395"/>
                <a:gd name="T2" fmla="*/ 32 w 269"/>
                <a:gd name="T3" fmla="*/ 167 h 395"/>
                <a:gd name="T4" fmla="*/ 43 w 269"/>
                <a:gd name="T5" fmla="*/ 156 h 395"/>
                <a:gd name="T6" fmla="*/ 56 w 269"/>
                <a:gd name="T7" fmla="*/ 151 h 395"/>
                <a:gd name="T8" fmla="*/ 72 w 269"/>
                <a:gd name="T9" fmla="*/ 151 h 395"/>
                <a:gd name="T10" fmla="*/ 85 w 269"/>
                <a:gd name="T11" fmla="*/ 156 h 395"/>
                <a:gd name="T12" fmla="*/ 95 w 269"/>
                <a:gd name="T13" fmla="*/ 167 h 395"/>
                <a:gd name="T14" fmla="*/ 101 w 269"/>
                <a:gd name="T15" fmla="*/ 180 h 395"/>
                <a:gd name="T16" fmla="*/ 101 w 269"/>
                <a:gd name="T17" fmla="*/ 196 h 395"/>
                <a:gd name="T18" fmla="*/ 95 w 269"/>
                <a:gd name="T19" fmla="*/ 210 h 395"/>
                <a:gd name="T20" fmla="*/ 91 w 269"/>
                <a:gd name="T21" fmla="*/ 215 h 395"/>
                <a:gd name="T22" fmla="*/ 78 w 269"/>
                <a:gd name="T23" fmla="*/ 223 h 395"/>
                <a:gd name="T24" fmla="*/ 63 w 269"/>
                <a:gd name="T25" fmla="*/ 226 h 395"/>
                <a:gd name="T26" fmla="*/ 49 w 269"/>
                <a:gd name="T27" fmla="*/ 223 h 395"/>
                <a:gd name="T28" fmla="*/ 36 w 269"/>
                <a:gd name="T29" fmla="*/ 215 h 395"/>
                <a:gd name="T30" fmla="*/ 29 w 269"/>
                <a:gd name="T31" fmla="*/ 202 h 395"/>
                <a:gd name="T32" fmla="*/ 25 w 269"/>
                <a:gd name="T33" fmla="*/ 187 h 395"/>
                <a:gd name="T34" fmla="*/ 121 w 269"/>
                <a:gd name="T35" fmla="*/ 215 h 395"/>
                <a:gd name="T36" fmla="*/ 126 w 269"/>
                <a:gd name="T37" fmla="*/ 198 h 395"/>
                <a:gd name="T38" fmla="*/ 126 w 269"/>
                <a:gd name="T39" fmla="*/ 181 h 395"/>
                <a:gd name="T40" fmla="*/ 124 w 269"/>
                <a:gd name="T41" fmla="*/ 169 h 395"/>
                <a:gd name="T42" fmla="*/ 120 w 269"/>
                <a:gd name="T43" fmla="*/ 157 h 395"/>
                <a:gd name="T44" fmla="*/ 112 w 269"/>
                <a:gd name="T45" fmla="*/ 148 h 395"/>
                <a:gd name="T46" fmla="*/ 104 w 269"/>
                <a:gd name="T47" fmla="*/ 139 h 395"/>
                <a:gd name="T48" fmla="*/ 94 w 269"/>
                <a:gd name="T49" fmla="*/ 132 h 395"/>
                <a:gd name="T50" fmla="*/ 82 w 269"/>
                <a:gd name="T51" fmla="*/ 127 h 395"/>
                <a:gd name="T52" fmla="*/ 71 w 269"/>
                <a:gd name="T53" fmla="*/ 124 h 395"/>
                <a:gd name="T54" fmla="*/ 63 w 269"/>
                <a:gd name="T55" fmla="*/ 12 h 395"/>
                <a:gd name="T56" fmla="*/ 60 w 269"/>
                <a:gd name="T57" fmla="*/ 3 h 395"/>
                <a:gd name="T58" fmla="*/ 51 w 269"/>
                <a:gd name="T59" fmla="*/ 0 h 395"/>
                <a:gd name="T60" fmla="*/ 42 w 269"/>
                <a:gd name="T61" fmla="*/ 3 h 395"/>
                <a:gd name="T62" fmla="*/ 38 w 269"/>
                <a:gd name="T63" fmla="*/ 12 h 395"/>
                <a:gd name="T64" fmla="*/ 30 w 269"/>
                <a:gd name="T65" fmla="*/ 135 h 395"/>
                <a:gd name="T66" fmla="*/ 16 w 269"/>
                <a:gd name="T67" fmla="*/ 146 h 395"/>
                <a:gd name="T68" fmla="*/ 6 w 269"/>
                <a:gd name="T69" fmla="*/ 161 h 395"/>
                <a:gd name="T70" fmla="*/ 1 w 269"/>
                <a:gd name="T71" fmla="*/ 179 h 395"/>
                <a:gd name="T72" fmla="*/ 0 w 269"/>
                <a:gd name="T73" fmla="*/ 195 h 395"/>
                <a:gd name="T74" fmla="*/ 3 w 269"/>
                <a:gd name="T75" fmla="*/ 207 h 395"/>
                <a:gd name="T76" fmla="*/ 7 w 269"/>
                <a:gd name="T77" fmla="*/ 219 h 395"/>
                <a:gd name="T78" fmla="*/ 15 w 269"/>
                <a:gd name="T79" fmla="*/ 228 h 395"/>
                <a:gd name="T80" fmla="*/ 23 w 269"/>
                <a:gd name="T81" fmla="*/ 237 h 395"/>
                <a:gd name="T82" fmla="*/ 33 w 269"/>
                <a:gd name="T83" fmla="*/ 244 h 395"/>
                <a:gd name="T84" fmla="*/ 45 w 269"/>
                <a:gd name="T85" fmla="*/ 249 h 395"/>
                <a:gd name="T86" fmla="*/ 57 w 269"/>
                <a:gd name="T87" fmla="*/ 251 h 395"/>
                <a:gd name="T88" fmla="*/ 73 w 269"/>
                <a:gd name="T89" fmla="*/ 251 h 395"/>
                <a:gd name="T90" fmla="*/ 91 w 269"/>
                <a:gd name="T91" fmla="*/ 245 h 395"/>
                <a:gd name="T92" fmla="*/ 248 w 269"/>
                <a:gd name="T93" fmla="*/ 390 h 395"/>
                <a:gd name="T94" fmla="*/ 256 w 269"/>
                <a:gd name="T95" fmla="*/ 395 h 395"/>
                <a:gd name="T96" fmla="*/ 265 w 269"/>
                <a:gd name="T97" fmla="*/ 390 h 395"/>
                <a:gd name="T98" fmla="*/ 269 w 269"/>
                <a:gd name="T99" fmla="*/ 382 h 395"/>
                <a:gd name="T100" fmla="*/ 265 w 269"/>
                <a:gd name="T101" fmla="*/ 3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395">
                  <a:moveTo>
                    <a:pt x="25" y="187"/>
                  </a:moveTo>
                  <a:lnTo>
                    <a:pt x="27" y="180"/>
                  </a:lnTo>
                  <a:lnTo>
                    <a:pt x="29" y="173"/>
                  </a:lnTo>
                  <a:lnTo>
                    <a:pt x="32" y="167"/>
                  </a:lnTo>
                  <a:lnTo>
                    <a:pt x="36" y="162"/>
                  </a:lnTo>
                  <a:lnTo>
                    <a:pt x="43" y="156"/>
                  </a:lnTo>
                  <a:lnTo>
                    <a:pt x="49" y="153"/>
                  </a:lnTo>
                  <a:lnTo>
                    <a:pt x="56" y="151"/>
                  </a:lnTo>
                  <a:lnTo>
                    <a:pt x="63" y="150"/>
                  </a:lnTo>
                  <a:lnTo>
                    <a:pt x="72" y="151"/>
                  </a:lnTo>
                  <a:lnTo>
                    <a:pt x="78" y="153"/>
                  </a:lnTo>
                  <a:lnTo>
                    <a:pt x="85" y="156"/>
                  </a:lnTo>
                  <a:lnTo>
                    <a:pt x="91" y="162"/>
                  </a:lnTo>
                  <a:lnTo>
                    <a:pt x="95" y="167"/>
                  </a:lnTo>
                  <a:lnTo>
                    <a:pt x="98" y="173"/>
                  </a:lnTo>
                  <a:lnTo>
                    <a:pt x="101" y="180"/>
                  </a:lnTo>
                  <a:lnTo>
                    <a:pt x="102" y="187"/>
                  </a:lnTo>
                  <a:lnTo>
                    <a:pt x="101" y="196"/>
                  </a:lnTo>
                  <a:lnTo>
                    <a:pt x="98" y="204"/>
                  </a:lnTo>
                  <a:lnTo>
                    <a:pt x="95" y="210"/>
                  </a:lnTo>
                  <a:lnTo>
                    <a:pt x="91" y="215"/>
                  </a:lnTo>
                  <a:lnTo>
                    <a:pt x="91" y="215"/>
                  </a:lnTo>
                  <a:lnTo>
                    <a:pt x="85" y="220"/>
                  </a:lnTo>
                  <a:lnTo>
                    <a:pt x="78" y="223"/>
                  </a:lnTo>
                  <a:lnTo>
                    <a:pt x="72" y="225"/>
                  </a:lnTo>
                  <a:lnTo>
                    <a:pt x="63" y="226"/>
                  </a:lnTo>
                  <a:lnTo>
                    <a:pt x="56" y="225"/>
                  </a:lnTo>
                  <a:lnTo>
                    <a:pt x="49" y="223"/>
                  </a:lnTo>
                  <a:lnTo>
                    <a:pt x="43" y="220"/>
                  </a:lnTo>
                  <a:lnTo>
                    <a:pt x="36" y="215"/>
                  </a:lnTo>
                  <a:lnTo>
                    <a:pt x="32" y="210"/>
                  </a:lnTo>
                  <a:lnTo>
                    <a:pt x="29" y="202"/>
                  </a:lnTo>
                  <a:lnTo>
                    <a:pt x="27" y="196"/>
                  </a:lnTo>
                  <a:lnTo>
                    <a:pt x="25" y="187"/>
                  </a:lnTo>
                  <a:close/>
                  <a:moveTo>
                    <a:pt x="117" y="224"/>
                  </a:moveTo>
                  <a:lnTo>
                    <a:pt x="121" y="215"/>
                  </a:lnTo>
                  <a:lnTo>
                    <a:pt x="124" y="207"/>
                  </a:lnTo>
                  <a:lnTo>
                    <a:pt x="126" y="198"/>
                  </a:lnTo>
                  <a:lnTo>
                    <a:pt x="127" y="187"/>
                  </a:lnTo>
                  <a:lnTo>
                    <a:pt x="126" y="181"/>
                  </a:lnTo>
                  <a:lnTo>
                    <a:pt x="126" y="176"/>
                  </a:lnTo>
                  <a:lnTo>
                    <a:pt x="124" y="169"/>
                  </a:lnTo>
                  <a:lnTo>
                    <a:pt x="122" y="164"/>
                  </a:lnTo>
                  <a:lnTo>
                    <a:pt x="120" y="157"/>
                  </a:lnTo>
                  <a:lnTo>
                    <a:pt x="117" y="153"/>
                  </a:lnTo>
                  <a:lnTo>
                    <a:pt x="112" y="148"/>
                  </a:lnTo>
                  <a:lnTo>
                    <a:pt x="108" y="143"/>
                  </a:lnTo>
                  <a:lnTo>
                    <a:pt x="104" y="139"/>
                  </a:lnTo>
                  <a:lnTo>
                    <a:pt x="100" y="135"/>
                  </a:lnTo>
                  <a:lnTo>
                    <a:pt x="94" y="132"/>
                  </a:lnTo>
                  <a:lnTo>
                    <a:pt x="89" y="129"/>
                  </a:lnTo>
                  <a:lnTo>
                    <a:pt x="82" y="127"/>
                  </a:lnTo>
                  <a:lnTo>
                    <a:pt x="76" y="125"/>
                  </a:lnTo>
                  <a:lnTo>
                    <a:pt x="71" y="124"/>
                  </a:lnTo>
                  <a:lnTo>
                    <a:pt x="63" y="124"/>
                  </a:lnTo>
                  <a:lnTo>
                    <a:pt x="63" y="12"/>
                  </a:lnTo>
                  <a:lnTo>
                    <a:pt x="63" y="7"/>
                  </a:lnTo>
                  <a:lnTo>
                    <a:pt x="60" y="3"/>
                  </a:lnTo>
                  <a:lnTo>
                    <a:pt x="56" y="1"/>
                  </a:lnTo>
                  <a:lnTo>
                    <a:pt x="51" y="0"/>
                  </a:lnTo>
                  <a:lnTo>
                    <a:pt x="46" y="1"/>
                  </a:lnTo>
                  <a:lnTo>
                    <a:pt x="42" y="3"/>
                  </a:lnTo>
                  <a:lnTo>
                    <a:pt x="39" y="7"/>
                  </a:lnTo>
                  <a:lnTo>
                    <a:pt x="38" y="12"/>
                  </a:lnTo>
                  <a:lnTo>
                    <a:pt x="38" y="131"/>
                  </a:lnTo>
                  <a:lnTo>
                    <a:pt x="30" y="135"/>
                  </a:lnTo>
                  <a:lnTo>
                    <a:pt x="22" y="140"/>
                  </a:lnTo>
                  <a:lnTo>
                    <a:pt x="16" y="146"/>
                  </a:lnTo>
                  <a:lnTo>
                    <a:pt x="10" y="153"/>
                  </a:lnTo>
                  <a:lnTo>
                    <a:pt x="6" y="161"/>
                  </a:lnTo>
                  <a:lnTo>
                    <a:pt x="3" y="169"/>
                  </a:lnTo>
                  <a:lnTo>
                    <a:pt x="1" y="179"/>
                  </a:lnTo>
                  <a:lnTo>
                    <a:pt x="0" y="187"/>
                  </a:lnTo>
                  <a:lnTo>
                    <a:pt x="0" y="195"/>
                  </a:lnTo>
                  <a:lnTo>
                    <a:pt x="1" y="200"/>
                  </a:lnTo>
                  <a:lnTo>
                    <a:pt x="3" y="207"/>
                  </a:lnTo>
                  <a:lnTo>
                    <a:pt x="5" y="213"/>
                  </a:lnTo>
                  <a:lnTo>
                    <a:pt x="7" y="219"/>
                  </a:lnTo>
                  <a:lnTo>
                    <a:pt x="10" y="224"/>
                  </a:lnTo>
                  <a:lnTo>
                    <a:pt x="15" y="228"/>
                  </a:lnTo>
                  <a:lnTo>
                    <a:pt x="19" y="234"/>
                  </a:lnTo>
                  <a:lnTo>
                    <a:pt x="23" y="237"/>
                  </a:lnTo>
                  <a:lnTo>
                    <a:pt x="28" y="241"/>
                  </a:lnTo>
                  <a:lnTo>
                    <a:pt x="33" y="244"/>
                  </a:lnTo>
                  <a:lnTo>
                    <a:pt x="38" y="246"/>
                  </a:lnTo>
                  <a:lnTo>
                    <a:pt x="45" y="249"/>
                  </a:lnTo>
                  <a:lnTo>
                    <a:pt x="51" y="251"/>
                  </a:lnTo>
                  <a:lnTo>
                    <a:pt x="57" y="251"/>
                  </a:lnTo>
                  <a:lnTo>
                    <a:pt x="63" y="252"/>
                  </a:lnTo>
                  <a:lnTo>
                    <a:pt x="73" y="251"/>
                  </a:lnTo>
                  <a:lnTo>
                    <a:pt x="82" y="249"/>
                  </a:lnTo>
                  <a:lnTo>
                    <a:pt x="91" y="245"/>
                  </a:lnTo>
                  <a:lnTo>
                    <a:pt x="98" y="241"/>
                  </a:lnTo>
                  <a:lnTo>
                    <a:pt x="248" y="390"/>
                  </a:lnTo>
                  <a:lnTo>
                    <a:pt x="251" y="394"/>
                  </a:lnTo>
                  <a:lnTo>
                    <a:pt x="256" y="395"/>
                  </a:lnTo>
                  <a:lnTo>
                    <a:pt x="261" y="394"/>
                  </a:lnTo>
                  <a:lnTo>
                    <a:pt x="265" y="390"/>
                  </a:lnTo>
                  <a:lnTo>
                    <a:pt x="268" y="386"/>
                  </a:lnTo>
                  <a:lnTo>
                    <a:pt x="269" y="382"/>
                  </a:lnTo>
                  <a:lnTo>
                    <a:pt x="268" y="376"/>
                  </a:lnTo>
                  <a:lnTo>
                    <a:pt x="265" y="372"/>
                  </a:lnTo>
                  <a:lnTo>
                    <a:pt x="117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118397F-CAEC-45F7-9CD4-A79902B0DCBF}"/>
              </a:ext>
            </a:extLst>
          </p:cNvPr>
          <p:cNvSpPr txBox="1"/>
          <p:nvPr/>
        </p:nvSpPr>
        <p:spPr>
          <a:xfrm>
            <a:off x="1465847" y="2418348"/>
            <a:ext cx="2472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강의 검색 기능 강화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F14B1D-CC1A-48C7-8876-640748B7DDA8}"/>
              </a:ext>
            </a:extLst>
          </p:cNvPr>
          <p:cNvSpPr txBox="1"/>
          <p:nvPr/>
        </p:nvSpPr>
        <p:spPr>
          <a:xfrm>
            <a:off x="3230479" y="1345532"/>
            <a:ext cx="2743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언어별, 난이도별로 강의를 분류하여 누구나 알기 쉽게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FEE60C-15CE-4A73-9619-62AC8EA60B18}"/>
              </a:ext>
            </a:extLst>
          </p:cNvPr>
          <p:cNvSpPr txBox="1"/>
          <p:nvPr/>
        </p:nvSpPr>
        <p:spPr>
          <a:xfrm>
            <a:off x="4864768" y="2308058"/>
            <a:ext cx="27432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초보자에게 적합한 난이도의 문제와 자세한 설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A1CF7-9979-4F6E-B43B-85CEB1AAC426}"/>
              </a:ext>
            </a:extLst>
          </p:cNvPr>
          <p:cNvSpPr txBox="1"/>
          <p:nvPr/>
        </p:nvSpPr>
        <p:spPr>
          <a:xfrm>
            <a:off x="6569242" y="1345532"/>
            <a:ext cx="2743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err="1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궁금한게</a:t>
            </a:r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 있으면 바로바로 </a:t>
            </a:r>
            <a:r>
              <a:rPr lang="ko-KR" altLang="en-US" sz="160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질문할 수 있는 Q&amp;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8A7C1E5-4479-467D-8A77-1BEFC5527D13}"/>
              </a:ext>
            </a:extLst>
          </p:cNvPr>
          <p:cNvSpPr txBox="1"/>
          <p:nvPr/>
        </p:nvSpPr>
        <p:spPr>
          <a:xfrm>
            <a:off x="8373979" y="2308058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dirty="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간편하게 코딩테스트 응시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0DD6224-F5CC-4BC5-BC93-AED3B98CA23F}"/>
              </a:ext>
            </a:extLst>
          </p:cNvPr>
          <p:cNvSpPr txBox="1"/>
          <p:nvPr/>
        </p:nvSpPr>
        <p:spPr>
          <a:xfrm>
            <a:off x="119270" y="483703"/>
            <a:ext cx="402424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 dirty="0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어떻게 만들까?</a:t>
            </a:r>
          </a:p>
        </p:txBody>
      </p:sp>
    </p:spTree>
    <p:extLst>
      <p:ext uri="{BB962C8B-B14F-4D97-AF65-F5344CB8AC3E}">
        <p14:creationId xmlns:p14="http://schemas.microsoft.com/office/powerpoint/2010/main" val="1371016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7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BC7DE64-8366-4844-AAFB-B2A025EF0064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1EF26EC-7DDC-4ECE-B32E-D7531A72D47F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9" name="Picture 10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69B9991F-594C-4FEE-9856-6FC77CA17A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6" r="135" b="-249"/>
          <a:stretch/>
        </p:blipFill>
        <p:spPr>
          <a:xfrm>
            <a:off x="1455530" y="1546281"/>
            <a:ext cx="8099349" cy="4450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505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8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5F7A6BD0-F852-4C81-A17B-4FAFA110D642}"/>
              </a:ext>
            </a:extLst>
          </p:cNvPr>
          <p:cNvSpPr txBox="1"/>
          <p:nvPr/>
        </p:nvSpPr>
        <p:spPr>
          <a:xfrm>
            <a:off x="6027302" y="1418328"/>
            <a:ext cx="85686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6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94FC08E-15E8-40F3-8E91-2AB7B3895C9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9D98BF03-2C96-4933-AC50-689FE68C2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57323"/>
            <a:ext cx="8066154" cy="439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0973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9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03A35993-9E92-4DE7-A30D-91A2B295A3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3" y="1546282"/>
            <a:ext cx="8055109" cy="4405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991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6/25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10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19701C8E-4319-4685-A990-E3372649C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57323"/>
            <a:ext cx="8121371" cy="441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215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6B"/>
      </a:accent1>
      <a:accent2>
        <a:srgbClr val="556270"/>
      </a:accent2>
      <a:accent3>
        <a:srgbClr val="280E32"/>
      </a:accent3>
      <a:accent4>
        <a:srgbClr val="FF6B6B"/>
      </a:accent4>
      <a:accent5>
        <a:srgbClr val="556270"/>
      </a:accent5>
      <a:accent6>
        <a:srgbClr val="280E32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2</TotalTime>
  <Words>862</Words>
  <Application>Microsoft Office PowerPoint</Application>
  <PresentationFormat>Widescreen</PresentationFormat>
  <Paragraphs>134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nawanugroho</dc:creator>
  <cp:lastModifiedBy>trisnawanugroho</cp:lastModifiedBy>
  <cp:revision>1980</cp:revision>
  <dcterms:created xsi:type="dcterms:W3CDTF">2019-02-15T09:30:38Z</dcterms:created>
  <dcterms:modified xsi:type="dcterms:W3CDTF">2019-06-25T08:25:37Z</dcterms:modified>
</cp:coreProperties>
</file>